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4239" r:id="rId4"/>
  </p:sldMasterIdLst>
  <p:notesMasterIdLst>
    <p:notesMasterId r:id="rId11"/>
  </p:notesMasterIdLst>
  <p:handoutMasterIdLst>
    <p:handoutMasterId r:id="rId12"/>
  </p:handoutMasterIdLst>
  <p:sldIdLst>
    <p:sldId id="838" r:id="rId5"/>
    <p:sldId id="2146846798" r:id="rId6"/>
    <p:sldId id="2146846860" r:id="rId7"/>
    <p:sldId id="2147468912" r:id="rId8"/>
    <p:sldId id="2147468913" r:id="rId9"/>
    <p:sldId id="2147468914" r:id="rId10"/>
  </p:sldIdLst>
  <p:sldSz cx="12192000" cy="6858000"/>
  <p:notesSz cx="7315200" cy="96012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3840">
          <p15:clr>
            <a:srgbClr val="A4A3A4"/>
          </p15:clr>
        </p15:guide>
        <p15:guide id="4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1DF"/>
    <a:srgbClr val="033D58"/>
    <a:srgbClr val="DA291C"/>
    <a:srgbClr val="0057DE"/>
    <a:srgbClr val="232F3F"/>
    <a:srgbClr val="DB291C"/>
    <a:srgbClr val="ED6D00"/>
    <a:srgbClr val="FFCD00"/>
    <a:srgbClr val="3EFAC5"/>
    <a:srgbClr val="0DF20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7DBA72C-EED2-4BBB-951C-818E0262E22B}" v="174" dt="2023-03-28T16:01:41.64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292" autoAdjust="0"/>
  </p:normalViewPr>
  <p:slideViewPr>
    <p:cSldViewPr snapToGrid="0" showGuides="1">
      <p:cViewPr varScale="1">
        <p:scale>
          <a:sx n="106" d="100"/>
          <a:sy n="106" d="100"/>
        </p:scale>
        <p:origin x="654" y="108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81" d="100"/>
        <a:sy n="81" d="100"/>
      </p:scale>
      <p:origin x="0" y="0"/>
    </p:cViewPr>
  </p:sorterViewPr>
  <p:notesViewPr>
    <p:cSldViewPr snapToGrid="0" showGuides="1">
      <p:cViewPr varScale="1">
        <p:scale>
          <a:sx n="91" d="100"/>
          <a:sy n="91" d="100"/>
        </p:scale>
        <p:origin x="1680" y="78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3/28/2023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3/28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16759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51734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24805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86703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64204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15965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6831020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76400"/>
            <a:ext cx="9277349" cy="470535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6729413" algn="r"/>
              </a:tabLst>
              <a:defRPr>
                <a:latin typeface="+mn-lt"/>
              </a:defRPr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6729413" algn="r"/>
              </a:tabLst>
              <a:defRPr>
                <a:latin typeface="+mj-lt"/>
              </a:defRPr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6729413" algn="r"/>
              </a:tabLst>
              <a:defRPr>
                <a:latin typeface="+mn-lt"/>
              </a:defRPr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6729413" algn="r"/>
              </a:tabLst>
              <a:defRPr>
                <a:latin typeface="+mn-lt"/>
              </a:defRPr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>
                <a:latin typeface="+mn-lt"/>
              </a:defRPr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41725165"/>
      </p:ext>
    </p:extLst>
  </p:cSld>
  <p:clrMapOvr>
    <a:masterClrMapping/>
  </p:clrMapOvr>
  <p:transition>
    <p:fade/>
  </p:transition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83276" y="311339"/>
            <a:ext cx="2804160" cy="1027760"/>
          </a:xfrm>
        </p:spPr>
        <p:txBody>
          <a:bodyPr>
            <a:noAutofit/>
          </a:bodyPr>
          <a:lstStyle>
            <a:lvl1pPr>
              <a:spcBef>
                <a:spcPts val="185"/>
              </a:spcBef>
              <a:defRPr sz="800">
                <a:solidFill>
                  <a:schemeClr val="tx1"/>
                </a:solidFill>
              </a:defRPr>
            </a:lvl1pPr>
            <a:lvl2pPr>
              <a:defRPr sz="969">
                <a:solidFill>
                  <a:schemeClr val="tx2"/>
                </a:solidFill>
              </a:defRPr>
            </a:lvl2pPr>
            <a:lvl3pPr>
              <a:defRPr sz="969">
                <a:solidFill>
                  <a:schemeClr val="tx2"/>
                </a:solidFill>
              </a:defRPr>
            </a:lvl3pPr>
            <a:lvl4pPr>
              <a:defRPr sz="923">
                <a:solidFill>
                  <a:schemeClr val="tx2"/>
                </a:solidFill>
              </a:defRPr>
            </a:lvl4pPr>
            <a:lvl5pPr>
              <a:defRPr sz="92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95300" y="1676400"/>
            <a:ext cx="2796541" cy="4705348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554"/>
              </a:spcAft>
              <a:defRPr sz="969"/>
            </a:lvl1pPr>
            <a:lvl2pPr>
              <a:spcBef>
                <a:spcPts val="277"/>
              </a:spcBef>
              <a:defRPr/>
            </a:lvl2pPr>
            <a:lvl3pPr>
              <a:spcBef>
                <a:spcPts val="277"/>
              </a:spcBef>
              <a:defRPr/>
            </a:lvl3pPr>
            <a:lvl4pPr>
              <a:spcBef>
                <a:spcPts val="277"/>
              </a:spcBef>
              <a:defRPr/>
            </a:lvl4pPr>
            <a:lvl5pPr>
              <a:spcBef>
                <a:spcPts val="277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780369" y="1676400"/>
            <a:ext cx="7916331" cy="4705348"/>
          </a:xfrm>
        </p:spPr>
        <p:txBody>
          <a:bodyPr>
            <a:noAutofit/>
          </a:bodyPr>
          <a:lstStyle>
            <a:lvl1pPr marL="0" indent="0" algn="l">
              <a:spcBef>
                <a:spcPts val="1662"/>
              </a:spcBef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7C54E12-F787-4B6D-B957-5BFB290BB220}"/>
              </a:ext>
            </a:extLst>
          </p:cNvPr>
          <p:cNvGrpSpPr>
            <a:grpSpLocks noChangeAspect="1"/>
          </p:cNvGrpSpPr>
          <p:nvPr/>
        </p:nvGrpSpPr>
        <p:grpSpPr>
          <a:xfrm>
            <a:off x="495300" y="3048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ED842BC5-6476-461F-92C1-0BBC55269B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3D5047E5-5216-4426-B515-7CA5331481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D0A93C1C-3209-487D-B5A2-563BA5D67C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8C70728D-0A6F-4BF8-A124-23D8A2DF30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B2CEECF2-0C1E-4BBC-BE4A-BC449A26DC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3B9E0F32-14A5-493D-83F2-F42588B924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692FD902-0E73-43D0-B1B8-FA25CD54FE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BCD3C252-8F19-4706-8A09-E473846334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32BC4765-ECD3-44BD-AD71-FC51A8134E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E37FCFBA-6C21-49F1-BD1E-969002567C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35959798"/>
      </p:ext>
    </p:extLst>
  </p:cSld>
  <p:clrMapOvr>
    <a:masterClrMapping/>
  </p:clrMapOvr>
  <p:transition>
    <p:fade/>
  </p:transition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1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676400"/>
            <a:ext cx="4188949" cy="4705351"/>
          </a:xfrm>
        </p:spPr>
        <p:txBody>
          <a:bodyPr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76400"/>
            <a:ext cx="4456429" cy="470535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>
                <a:latin typeface="+mn-lt"/>
              </a:defRPr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>
                <a:latin typeface="+mj-lt"/>
              </a:defRPr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>
                <a:latin typeface="+mn-lt"/>
              </a:defRPr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>
                <a:latin typeface="+mn-lt"/>
              </a:defRPr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76151557"/>
      </p:ext>
    </p:extLst>
  </p:cSld>
  <p:clrMapOvr>
    <a:masterClrMapping/>
  </p:clrMapOvr>
  <p:transition>
    <p:fade/>
  </p:transition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76400"/>
            <a:ext cx="5305579" cy="47053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76400"/>
            <a:ext cx="5322781" cy="47053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D58FF0B8-12F4-41CE-AD69-DD52D41C8B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565F50C2-3A2B-43F6-97B9-A4F3EF05E4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46455791"/>
      </p:ext>
    </p:extLst>
  </p:cSld>
  <p:clrMapOvr>
    <a:masterClrMapping/>
  </p:clrMapOvr>
  <p:transition>
    <p:fade/>
  </p:transition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76400"/>
            <a:ext cx="5305580" cy="47053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 sz="1600"/>
            </a:lvl1pPr>
            <a:lvl2pPr marL="177800" indent="-1778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sz="1600"/>
            </a:lvl2pPr>
            <a:lvl3pPr marL="381000" indent="-1778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sz="1600"/>
            </a:lvl3pPr>
            <a:lvl4pPr marL="584200" indent="-1778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sz="1600"/>
            </a:lvl4pPr>
            <a:lvl5pPr marL="787400" indent="-1778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83999" y="1676400"/>
            <a:ext cx="5306351" cy="47053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 sz="1600"/>
            </a:lvl1pPr>
            <a:lvl2pPr marL="177800" indent="-1778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sz="1600"/>
            </a:lvl2pPr>
            <a:lvl3pPr marL="381000" indent="-1778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sz="1600"/>
            </a:lvl3pPr>
            <a:lvl4pPr marL="584200" indent="-1778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sz="1600"/>
            </a:lvl4pPr>
            <a:lvl5pPr marL="787400" indent="-1778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E5225F53-1C15-499B-9179-65E3B2184C7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14EA394-D3CD-41FC-B7FF-082F08C15A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52370270"/>
      </p:ext>
    </p:extLst>
  </p:cSld>
  <p:clrMapOvr>
    <a:masterClrMapping/>
  </p:clrMapOvr>
  <p:transition>
    <p:fade/>
  </p:transition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76400"/>
            <a:ext cx="5355165" cy="44446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76400"/>
            <a:ext cx="5349128" cy="409575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911C489-B226-49BC-B069-119CF8BC96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F47218A4-44FE-4E96-A903-7AD44AF4E8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90104249"/>
      </p:ext>
    </p:extLst>
  </p:cSld>
  <p:clrMapOvr>
    <a:masterClrMapping/>
  </p:clrMapOvr>
  <p:transition>
    <p:fade/>
  </p:transition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76400"/>
            <a:ext cx="5349129" cy="409575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0" y="2125013"/>
            <a:ext cx="5349240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76400"/>
            <a:ext cx="5349240" cy="409575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528E1B-5BDF-48B1-B9CD-A31A996312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6A696DA-71F5-44D5-B231-17F470D2F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02946605"/>
      </p:ext>
    </p:extLst>
  </p:cSld>
  <p:clrMapOvr>
    <a:masterClrMapping/>
  </p:clrMapOvr>
  <p:transition>
    <p:fade/>
  </p:transition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85167"/>
            <a:ext cx="4431857" cy="469658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685167"/>
            <a:ext cx="6240000" cy="469658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CFBECF-F261-4066-B77C-A1FCF54AA0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6E9BEEDA-6F6F-4BD9-B1D8-9731D1B037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56206740"/>
      </p:ext>
    </p:extLst>
  </p:cSld>
  <p:clrMapOvr>
    <a:masterClrMapping/>
  </p:clrMapOvr>
  <p:transition>
    <p:fade/>
  </p:transition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76400"/>
            <a:ext cx="4112468" cy="470535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20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76400"/>
            <a:ext cx="6506348" cy="47053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68009483-F3D1-4AD9-8031-CEB4620DB8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1FE75E2-F986-4CD3-8A43-338DEE272C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08120026"/>
      </p:ext>
    </p:extLst>
  </p:cSld>
  <p:clrMapOvr>
    <a:masterClrMapping/>
  </p:clrMapOvr>
  <p:transition>
    <p:fade/>
  </p:transition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81816"/>
            <a:ext cx="3549549" cy="403305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88962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2401" y="2081816"/>
            <a:ext cx="3549549" cy="403305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1226" y="1688962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0801" y="2081816"/>
            <a:ext cx="3549549" cy="403305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40801" y="1688962"/>
            <a:ext cx="3549549" cy="398256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10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3BAE7D4-2DCE-493F-8804-6735FFDC6D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0AA8666D-884E-4CE4-A16C-E06A6E0BAE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8039297"/>
      </p:ext>
    </p:extLst>
  </p:cSld>
  <p:clrMapOvr>
    <a:masterClrMapping/>
  </p:clrMapOvr>
  <p:transition>
    <p:fade/>
  </p:transition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accent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58473093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693964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693964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693964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693964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50" y="3124200"/>
            <a:ext cx="2720468" cy="3257548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49963" y="3120551"/>
            <a:ext cx="2712000" cy="32611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0"/>
            <a:ext cx="2712000" cy="325754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9" y="3108508"/>
            <a:ext cx="2697183" cy="327324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CB36819A-C0CE-4CC8-96BE-D57C8135F44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A14F8B0D-4D62-4988-B307-1BB6BBEEC1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17931908"/>
      </p:ext>
    </p:extLst>
  </p:cSld>
  <p:clrMapOvr>
    <a:masterClrMapping/>
  </p:clrMapOvr>
  <p:transition>
    <p:fade/>
  </p:transition>
  <p:hf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04000" y="1672337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24085" y="1665377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45377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45377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45377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45377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2753468-486C-4E44-B97B-3442F4990D23}"/>
              </a:ext>
            </a:extLst>
          </p:cNvPr>
          <p:cNvSpPr/>
          <p:nvPr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44C2095-0900-4569-A109-645CF4777A8D}"/>
              </a:ext>
            </a:extLst>
          </p:cNvPr>
          <p:cNvSpPr/>
          <p:nvPr/>
        </p:nvSpPr>
        <p:spPr>
          <a:xfrm>
            <a:off x="618490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48A3CDF-F5A1-44AC-9648-5A3D0461AB03}"/>
              </a:ext>
            </a:extLst>
          </p:cNvPr>
          <p:cNvSpPr/>
          <p:nvPr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8A9EEEA-4AE4-43FE-9262-BC961D83A4C2}"/>
              </a:ext>
            </a:extLst>
          </p:cNvPr>
          <p:cNvSpPr/>
          <p:nvPr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E14920E0-BAB9-44E6-A33A-5F4B6E751C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B186F496-8F3D-4D1B-850D-31517B35E6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00322321"/>
      </p:ext>
    </p:extLst>
  </p:cSld>
  <p:clrMapOvr>
    <a:masterClrMapping/>
  </p:clrMapOvr>
  <p:transition>
    <p:fade/>
  </p:transition>
  <p:hf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12874" y="1857892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44156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57892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46190" y="1857892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83703CC-2625-4A3C-9057-35BB359C858C}"/>
              </a:ext>
            </a:extLst>
          </p:cNvPr>
          <p:cNvSpPr/>
          <p:nvPr/>
        </p:nvSpPr>
        <p:spPr>
          <a:xfrm>
            <a:off x="469899" y="1685501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497003E-0D5A-4199-A9D0-BFB3CBF4A0D4}"/>
              </a:ext>
            </a:extLst>
          </p:cNvPr>
          <p:cNvSpPr/>
          <p:nvPr/>
        </p:nvSpPr>
        <p:spPr>
          <a:xfrm>
            <a:off x="6167796" y="1685501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4074C3BE-314B-470C-927B-DBC4A457D9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E8EE9A28-CEAF-410C-B504-E930E2347F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7375445"/>
      </p:ext>
    </p:extLst>
  </p:cSld>
  <p:clrMapOvr>
    <a:masterClrMapping/>
  </p:clrMapOvr>
  <p:transition>
    <p:fade/>
  </p:transition>
  <p:hf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56702" y="1857892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2" name="Rectangle 11"/>
          <p:cNvSpPr/>
          <p:nvPr/>
        </p:nvSpPr>
        <p:spPr>
          <a:xfrm>
            <a:off x="504001" y="4103518"/>
            <a:ext cx="54689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246194" y="4103518"/>
            <a:ext cx="54447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49682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4993" y="4249682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57892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32462FA-7D20-4E6B-9335-5F0CC56925D0}"/>
              </a:ext>
            </a:extLst>
          </p:cNvPr>
          <p:cNvSpPr/>
          <p:nvPr/>
        </p:nvSpPr>
        <p:spPr>
          <a:xfrm>
            <a:off x="469899" y="1685501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5AF616D-3F67-4FD6-BC16-ABC13A0ACA22}"/>
              </a:ext>
            </a:extLst>
          </p:cNvPr>
          <p:cNvSpPr/>
          <p:nvPr/>
        </p:nvSpPr>
        <p:spPr>
          <a:xfrm>
            <a:off x="6167796" y="1685501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1986DCA-1B97-4EC9-A852-97E5340E26DC}"/>
              </a:ext>
            </a:extLst>
          </p:cNvPr>
          <p:cNvSpPr/>
          <p:nvPr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21E9D44-54F1-4CE7-8FDF-78DC08D29E3F}"/>
              </a:ext>
            </a:extLst>
          </p:cNvPr>
          <p:cNvSpPr/>
          <p:nvPr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CAAD7DA-8C87-4BD9-82C1-81D09B5A7A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9957D34C-FCB8-47FD-97FA-BF6A4F7FEC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DE12908D-2FA0-48AB-B2FF-08FF433571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2874" y="1838014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8DB1A9EF-276C-4FE9-B33D-E2267D9DB46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46194" y="1838014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2A7C1E0-8314-4B78-902A-0828B984B27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37297" y="4249681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9057B8DE-1E5B-4E78-8FC1-456B14A880F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46194" y="4249681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22811399"/>
      </p:ext>
    </p:extLst>
  </p:cSld>
  <p:clrMapOvr>
    <a:masterClrMapping/>
  </p:clrMapOvr>
  <p:transition>
    <p:fade/>
  </p:transition>
  <p:hf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320000" y="1705968"/>
            <a:ext cx="355611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04000" y="1700214"/>
            <a:ext cx="356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15300" y="1705968"/>
            <a:ext cx="358385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CD5B122-EABE-4ECA-819A-54D0AA2130F9}"/>
              </a:ext>
            </a:extLst>
          </p:cNvPr>
          <p:cNvSpPr/>
          <p:nvPr/>
        </p:nvSpPr>
        <p:spPr>
          <a:xfrm>
            <a:off x="4278313" y="1696029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FF78E2E-2B9E-4E32-8A54-BC55293CD3C9}"/>
              </a:ext>
            </a:extLst>
          </p:cNvPr>
          <p:cNvSpPr/>
          <p:nvPr/>
        </p:nvSpPr>
        <p:spPr>
          <a:xfrm>
            <a:off x="469900" y="1696029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B0F314D-E019-4AD3-B954-818463FF0B9D}"/>
              </a:ext>
            </a:extLst>
          </p:cNvPr>
          <p:cNvSpPr/>
          <p:nvPr/>
        </p:nvSpPr>
        <p:spPr>
          <a:xfrm>
            <a:off x="8104176" y="1696029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E69DF469-1C05-4DC1-B6C9-2712D9E1B83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77DBFC5B-8E23-48FC-97C3-38FCFE6253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39EC70-7463-4AC3-840B-4FCA6DF3973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2874" y="1847952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A85F1297-532C-478B-8C8C-A7A406ADF2C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25938" y="1851542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72E6BFE1-0779-4417-985A-E1020673A1F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48737" y="1847951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6408211"/>
      </p:ext>
    </p:extLst>
  </p:cSld>
  <p:clrMapOvr>
    <a:masterClrMapping/>
  </p:clrMapOvr>
  <p:transition>
    <p:fade/>
  </p:transition>
  <p:hf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676400"/>
            <a:ext cx="3613149" cy="1969362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125666" y="1693965"/>
            <a:ext cx="3564683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312831" y="1674087"/>
            <a:ext cx="3573869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/>
          </p:nvPr>
        </p:nvSpPr>
        <p:spPr>
          <a:xfrm>
            <a:off x="501651" y="3832225"/>
            <a:ext cx="3613149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18"/>
          <p:cNvSpPr>
            <a:spLocks noGrp="1"/>
          </p:cNvSpPr>
          <p:nvPr>
            <p:ph idx="16"/>
          </p:nvPr>
        </p:nvSpPr>
        <p:spPr>
          <a:xfrm>
            <a:off x="4306956" y="3832225"/>
            <a:ext cx="3579744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7"/>
          </p:nvPr>
        </p:nvSpPr>
        <p:spPr>
          <a:xfrm>
            <a:off x="8125666" y="3832225"/>
            <a:ext cx="3564683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F15AF63-D425-4D3F-B484-4B7A0F329F9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F7002A92-1CF7-42F5-B761-7DB3C2CF11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98241018"/>
      </p:ext>
    </p:extLst>
  </p:cSld>
  <p:clrMapOvr>
    <a:masterClrMapping/>
  </p:clrMapOvr>
  <p:transition>
    <p:fade/>
  </p:transition>
  <p:hf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3B6715C-C932-49B3-880D-8C5710C8F9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EA7B5E5-1F8D-43CD-9AD2-8B87181DC5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12860535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91791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9939BF43-6ABE-4327-81AC-7892A04773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4133C46-CE37-4404-B4D0-9DFA124106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30584849"/>
      </p:ext>
    </p:extLst>
  </p:cSld>
  <p:clrMapOvr>
    <a:masterClrMapping/>
  </p:clrMapOvr>
  <p:transition>
    <p:fade/>
  </p:transition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57181442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57458821"/>
      </p:ext>
    </p:extLst>
  </p:cSld>
  <p:clrMapOvr>
    <a:masterClrMapping/>
  </p:clrMapOvr>
  <p:transition>
    <p:fade/>
  </p:transition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E5D7BA0-7E63-4F55-8707-FB998AF96C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7C1D43B-9933-4650-9DD5-73494BECAE5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5EEA3F2-C909-4275-956A-5518D341D424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619F8D2D-E0FF-4267-BB4C-23E0F19AA0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0BDA8F6-D1EC-4590-8515-7F2E0D9EE1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8E570DBD-3EC7-4EE8-886A-A6498BEC37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B1656288-29CD-4B95-A46B-7B8DA78609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C3894AF9-2B03-4231-9AEA-EC49F5E194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F1C43784-6F73-4D9F-8497-B40FDBB854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E031C0BD-B701-4255-B53D-1A0FB80663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1F07466D-8C2C-4286-9984-9193301353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F2700776-9B5A-4A2C-BA8E-E8C5B03A09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1D768AB6-AEBA-4689-BCE3-70447F634D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90274874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45572375"/>
      </p:ext>
    </p:extLst>
  </p:cSld>
  <p:clrMapOvr>
    <a:masterClrMapping/>
  </p:clrMapOvr>
  <p:transition>
    <p:fade/>
  </p:transition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154613" y="1676398"/>
            <a:ext cx="4478337" cy="4611396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58D969C3-195F-423F-8E4C-37C200B2784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02920" y="1676400"/>
            <a:ext cx="4492938" cy="4611395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C9DAEC41-5E91-4677-90FA-D49959E620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3A82897B-0778-4692-B5E3-F2C484A549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76675160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278525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350E41-AF26-4F49-B6BC-9DCAC9F430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2336143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7213EE0C-033D-4C02-B0C8-D233FA692F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2336143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1941596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divider slide -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EE7327F-2791-4B24-9B91-F5FBE3C53605}"/>
              </a:ext>
            </a:extLst>
          </p:cNvPr>
          <p:cNvSpPr txBox="1"/>
          <p:nvPr userDrawn="1"/>
        </p:nvSpPr>
        <p:spPr>
          <a:xfrm>
            <a:off x="501649" y="6477000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A9196DE-9963-4B6C-A61E-54A000354EA1}"/>
              </a:ext>
            </a:extLst>
          </p:cNvPr>
          <p:cNvSpPr txBox="1"/>
          <p:nvPr userDrawn="1"/>
        </p:nvSpPr>
        <p:spPr>
          <a:xfrm>
            <a:off x="11382377" y="6477001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8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D782167-D1DA-4C0D-BBC4-57710C5426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243073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93FD7A4F-D4C6-456D-861F-60C39B8F01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2430736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1680EBF-E1D6-48BA-A3B6-40DCC501362F}"/>
              </a:ext>
            </a:extLst>
          </p:cNvPr>
          <p:cNvSpPr txBox="1"/>
          <p:nvPr userDrawn="1"/>
        </p:nvSpPr>
        <p:spPr>
          <a:xfrm>
            <a:off x="5333930" y="6476999"/>
            <a:ext cx="445141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</a:t>
            </a:r>
            <a:r>
              <a:rPr lang="en-US" sz="90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ster</a:t>
            </a: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27014417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02920" y="1700213"/>
            <a:ext cx="9130030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86949361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Title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02920" y="1700213"/>
            <a:ext cx="9163049" cy="4598988"/>
          </a:xfrm>
          <a:prstGeom prst="rect">
            <a:avLst/>
          </a:prstGeom>
        </p:spPr>
        <p:txBody>
          <a:bodyPr/>
          <a:lstStyle>
            <a:lvl1pPr>
              <a:defRPr sz="13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EB8A8E6-2D01-4C42-8261-4BB28D9AC08D}"/>
              </a:ext>
            </a:extLst>
          </p:cNvPr>
          <p:cNvSpPr txBox="1"/>
          <p:nvPr userDrawn="1"/>
        </p:nvSpPr>
        <p:spPr>
          <a:xfrm>
            <a:off x="501649" y="6477000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5AE6E4C-F941-48D5-A8B3-519A5C55C01C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3383F4E-C462-4606-BD33-BCB4C83795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4AE9F5A-DB9E-4932-AAA5-08C1CCF14952}"/>
              </a:ext>
            </a:extLst>
          </p:cNvPr>
          <p:cNvSpPr txBox="1"/>
          <p:nvPr userDrawn="1"/>
        </p:nvSpPr>
        <p:spPr>
          <a:xfrm>
            <a:off x="5333930" y="6476999"/>
            <a:ext cx="445141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</a:t>
            </a:r>
            <a:r>
              <a:rPr lang="en-US" sz="90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ster</a:t>
            </a: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193210204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9147174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198F6463-E07D-42A6-B9CB-9A0C4AEEB6F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455844DF-7B16-41C6-9FF7-F388D52805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2004167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8115300" y="1676400"/>
            <a:ext cx="2921000" cy="4613276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0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2920" y="1676400"/>
            <a:ext cx="7383779" cy="4613276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4B707129-FB11-4B6D-B048-48E42E0A00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93E9B89-D7E9-40C0-B4A5-54D6CFAB43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55704928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95300" y="1676400"/>
            <a:ext cx="4465638" cy="470535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5154613" y="1676400"/>
            <a:ext cx="4478337" cy="470535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B7E11013-C911-423A-906E-42D2615426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D0EBF8C6-32C5-44C1-B31D-FF2BC2B528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36508668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3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7007" y="2083528"/>
            <a:ext cx="2924184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7007" y="1690675"/>
            <a:ext cx="2924184" cy="373803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636674" y="2083528"/>
            <a:ext cx="2919701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636674" y="1690675"/>
            <a:ext cx="2919701" cy="373803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754669" y="2083528"/>
            <a:ext cx="2916382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754669" y="1690675"/>
            <a:ext cx="2916382" cy="37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2920" y="6056362"/>
            <a:ext cx="9164950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10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B8D61533-1469-4AF4-8FF7-C7742D00F91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0A92555C-0F4F-4CCE-BC5E-1127CF9949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54173256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670834"/>
            <a:ext cx="105410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23602251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2920" y="1676400"/>
            <a:ext cx="4491038" cy="430638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5154613" y="2156544"/>
            <a:ext cx="4478337" cy="3857776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5154613" y="1687293"/>
            <a:ext cx="4478337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2920" y="6066870"/>
            <a:ext cx="916305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10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DB7B9EEC-A4F7-479D-97DE-92F1134243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69C81A7C-B51A-45FD-A7D3-BB1D7A876D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39126413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divider slide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0104438" cy="6858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2920" y="320040"/>
            <a:ext cx="5260311" cy="153275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400" b="1">
                <a:solidFill>
                  <a:schemeClr val="bg1"/>
                </a:solidFill>
              </a:defRPr>
            </a:lvl1pPr>
            <a:lvl2pPr marL="0" indent="0" algn="l">
              <a:buNone/>
              <a:defRPr sz="20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70176276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49" y="1673225"/>
            <a:ext cx="9163050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A27902D-9908-4D67-926C-6894CE274F0D}"/>
              </a:ext>
            </a:extLst>
          </p:cNvPr>
          <p:cNvSpPr txBox="1"/>
          <p:nvPr userDrawn="1"/>
        </p:nvSpPr>
        <p:spPr>
          <a:xfrm>
            <a:off x="501649" y="6477000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DEA2D95-453E-4C1E-8B81-C64279A0A990}"/>
              </a:ext>
            </a:extLst>
          </p:cNvPr>
          <p:cNvSpPr txBox="1"/>
          <p:nvPr userDrawn="1"/>
        </p:nvSpPr>
        <p:spPr>
          <a:xfrm>
            <a:off x="11382377" y="6477001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8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24F60B5-98B3-40D6-9AA2-0E7920BAD5FB}"/>
              </a:ext>
            </a:extLst>
          </p:cNvPr>
          <p:cNvSpPr txBox="1"/>
          <p:nvPr userDrawn="1"/>
        </p:nvSpPr>
        <p:spPr>
          <a:xfrm>
            <a:off x="6836213" y="6485875"/>
            <a:ext cx="445141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</p:spTree>
    <p:extLst>
      <p:ext uri="{BB962C8B-B14F-4D97-AF65-F5344CB8AC3E}">
        <p14:creationId xmlns:p14="http://schemas.microsoft.com/office/powerpoint/2010/main" val="18056136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fogr/Map Gray 11">
    <p:bg>
      <p:bgPr>
        <a:solidFill>
          <a:srgbClr val="535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3584575" y="1700212"/>
            <a:ext cx="6048376" cy="4681537"/>
          </a:xfrm>
          <a:prstGeom prst="rect">
            <a:avLst/>
          </a:prstGeom>
        </p:spPr>
        <p:txBody>
          <a:bodyPr/>
          <a:lstStyle>
            <a:lvl1pPr>
              <a:defRPr sz="13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2920" y="1676400"/>
            <a:ext cx="2935600" cy="4694167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 sz="13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 sz="1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 sz="13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 sz="13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sz="1300" baseline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96C1370-89C2-423C-BC1C-BD1EF2442239}"/>
              </a:ext>
            </a:extLst>
          </p:cNvPr>
          <p:cNvSpPr txBox="1"/>
          <p:nvPr userDrawn="1"/>
        </p:nvSpPr>
        <p:spPr>
          <a:xfrm>
            <a:off x="501649" y="6477000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5D5CE32-9585-44BD-B4DD-965E8A876A23}"/>
              </a:ext>
            </a:extLst>
          </p:cNvPr>
          <p:cNvSpPr txBox="1"/>
          <p:nvPr userDrawn="1"/>
        </p:nvSpPr>
        <p:spPr>
          <a:xfrm>
            <a:off x="11382377" y="6477001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8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834896DF-0965-420A-9264-9CFAA62807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99FCAF2C-1546-487D-8676-9A35CAEF0D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7FBEA7B-361D-4A0B-8277-605B6B0A8726}"/>
              </a:ext>
            </a:extLst>
          </p:cNvPr>
          <p:cNvSpPr txBox="1"/>
          <p:nvPr userDrawn="1"/>
        </p:nvSpPr>
        <p:spPr>
          <a:xfrm>
            <a:off x="5333930" y="6476999"/>
            <a:ext cx="445141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</a:t>
            </a:r>
            <a:r>
              <a:rPr lang="en-US" sz="90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ster</a:t>
            </a: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1614412644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95300" y="4209260"/>
            <a:ext cx="8555638" cy="2172489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sz="900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DBE0613-D0C6-405A-ACD6-58EF0477427B}"/>
              </a:ext>
            </a:extLst>
          </p:cNvPr>
          <p:cNvGrpSpPr>
            <a:grpSpLocks noChangeAspect="1"/>
          </p:cNvGrpSpPr>
          <p:nvPr/>
        </p:nvGrpSpPr>
        <p:grpSpPr>
          <a:xfrm>
            <a:off x="501652" y="3048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FD362D39-3352-4BA0-AC51-553983A71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1156DAFF-F101-4061-AA75-F8EEDC00FC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tx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5667AB23-84F3-44E4-B904-5D4D3A9B31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tx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12CE4E7F-CB40-4545-80AF-423201F72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tx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A7B265B2-4EA1-416A-A272-49E48905C3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tx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3744CD22-C3A3-4D80-AB50-3E6D348330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3046CB4E-F174-491D-9CAB-2A9115985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tx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8B2D79F2-05A8-4E1C-A4D8-725E52963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tx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EA13742-485A-4EC3-BF90-9FD12F905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tx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5D44DAC1-76F0-42F6-93C9-61B9C3054D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68204594"/>
      </p:ext>
    </p:extLst>
  </p:cSld>
  <p:clrMapOvr>
    <a:masterClrMapping/>
  </p:clrMapOvr>
  <p:hf hd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sz="900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DBE0613-D0C6-405A-ACD6-58EF0477427B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FD362D39-3352-4BA0-AC51-553983A71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1156DAFF-F101-4061-AA75-F8EEDC00FC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5667AB23-84F3-44E4-B904-5D4D3A9B31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12CE4E7F-CB40-4545-80AF-423201F72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A7B265B2-4EA1-416A-A272-49E48905C3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3744CD22-C3A3-4D80-AB50-3E6D348330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3046CB4E-F174-491D-9CAB-2A9115985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8B2D79F2-05A8-4E1C-A4D8-725E52963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EA13742-485A-4EC3-BF90-9FD12F905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5D44DAC1-76F0-42F6-93C9-61B9C3054D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5767307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4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aseCode">
            <a:extLst>
              <a:ext uri="{FF2B5EF4-FFF2-40B4-BE49-F238E27FC236}">
                <a16:creationId xmlns:a16="http://schemas.microsoft.com/office/drawing/2014/main" id="{452A60FA-C95E-401E-9AF3-D27C8C88BCCB}"/>
              </a:ext>
            </a:extLst>
          </p:cNvPr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CA24B28E-5B13-4779-8D72-C52A20B99FE7}"/>
              </a:ext>
            </a:extLst>
          </p:cNvPr>
          <p:cNvSpPr txBox="1"/>
          <p:nvPr/>
        </p:nvSpPr>
        <p:spPr>
          <a:xfrm>
            <a:off x="501649" y="6477001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C32543E-E807-47A4-A234-D5C7012187B4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4629683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aseCode">
            <a:extLst>
              <a:ext uri="{FF2B5EF4-FFF2-40B4-BE49-F238E27FC236}">
                <a16:creationId xmlns:a16="http://schemas.microsoft.com/office/drawing/2014/main" id="{E8E60749-A3E0-4E09-BF50-6D6B361BEF91}"/>
              </a:ext>
            </a:extLst>
          </p:cNvPr>
          <p:cNvSpPr txBox="1"/>
          <p:nvPr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Cloud Institute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2AD12011-8F73-49BB-8C12-BDC820477529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3 Deloitte Development LLC. All rights reserved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194F347-CBED-4284-9EC5-49E7D0DE163A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4028098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76400"/>
            <a:ext cx="9277349" cy="47053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3600"/>
              </a:spcBef>
              <a:buFontTx/>
              <a:buNone/>
              <a:defRPr sz="36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83920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74087"/>
            <a:ext cx="11188699" cy="3571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4748058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76400"/>
            <a:ext cx="11165416" cy="47053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>
                <a:latin typeface="+mn-lt"/>
              </a:defRPr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>
                <a:latin typeface="+mj-lt"/>
              </a:defRPr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>
                <a:latin typeface="+mn-lt"/>
              </a:defRPr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 dirty="0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A1AF4B88-9BDB-4994-AE11-3A74CC55F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50681530"/>
      </p:ext>
    </p:extLst>
  </p:cSld>
  <p:clrMapOvr>
    <a:masterClrMapping/>
  </p:clrMapOvr>
  <p:transition>
    <p:fade/>
  </p:transition>
  <p:hf hdr="0" dt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7"/>
            </p:custDataLst>
            <p:extLst>
              <p:ext uri="{D42A27DB-BD31-4B8C-83A1-F6EECF244321}">
                <p14:modId xmlns:p14="http://schemas.microsoft.com/office/powerpoint/2010/main" val="237804889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8" imgW="270" imgH="270" progId="TCLayout.ActiveDocument.1">
                  <p:embed/>
                </p:oleObj>
              </mc:Choice>
              <mc:Fallback>
                <p:oleObj name="think-cell Slide" r:id="rId48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/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Copyright © 2023 Deloitte Development LLC. All rights reserved.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85167"/>
            <a:ext cx="11188700" cy="469658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Rectangle 8">
            <a:hlinkClick r:id="" action="ppaction://noaction"/>
            <a:extLst>
              <a:ext uri="{FF2B5EF4-FFF2-40B4-BE49-F238E27FC236}">
                <a16:creationId xmlns:a16="http://schemas.microsoft.com/office/drawing/2014/main" id="{C2320166-2AED-4CD3-A893-D94919B09F44}"/>
              </a:ext>
            </a:extLst>
          </p:cNvPr>
          <p:cNvSpPr/>
          <p:nvPr userDrawn="1"/>
        </p:nvSpPr>
        <p:spPr bwMode="gray">
          <a:xfrm>
            <a:off x="11287631" y="1017588"/>
            <a:ext cx="712282" cy="476355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0" name="Rectangle 9">
            <a:hlinkClick r:id="" action="ppaction://noaction"/>
            <a:extLst>
              <a:ext uri="{FF2B5EF4-FFF2-40B4-BE49-F238E27FC236}">
                <a16:creationId xmlns:a16="http://schemas.microsoft.com/office/drawing/2014/main" id="{E5C10B32-E2D1-4E1E-AF8B-C1CB0642773B}"/>
              </a:ext>
            </a:extLst>
          </p:cNvPr>
          <p:cNvSpPr/>
          <p:nvPr userDrawn="1"/>
        </p:nvSpPr>
        <p:spPr bwMode="gray">
          <a:xfrm>
            <a:off x="11287631" y="1618249"/>
            <a:ext cx="712282" cy="476355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hlinkClick r:id="" action="ppaction://noaction"/>
            <a:extLst>
              <a:ext uri="{FF2B5EF4-FFF2-40B4-BE49-F238E27FC236}">
                <a16:creationId xmlns:a16="http://schemas.microsoft.com/office/drawing/2014/main" id="{77270737-F2AF-4A5D-B2EE-60D8BD21B026}"/>
              </a:ext>
            </a:extLst>
          </p:cNvPr>
          <p:cNvSpPr/>
          <p:nvPr userDrawn="1"/>
        </p:nvSpPr>
        <p:spPr bwMode="gray">
          <a:xfrm>
            <a:off x="11287631" y="2198729"/>
            <a:ext cx="712282" cy="476355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hlinkClick r:id="" action="ppaction://noaction"/>
            <a:extLst>
              <a:ext uri="{FF2B5EF4-FFF2-40B4-BE49-F238E27FC236}">
                <a16:creationId xmlns:a16="http://schemas.microsoft.com/office/drawing/2014/main" id="{B2DA55B8-7FB5-415F-98A3-9E2DD1DAAA41}"/>
              </a:ext>
            </a:extLst>
          </p:cNvPr>
          <p:cNvSpPr/>
          <p:nvPr userDrawn="1"/>
        </p:nvSpPr>
        <p:spPr bwMode="gray">
          <a:xfrm>
            <a:off x="11287631" y="2812509"/>
            <a:ext cx="712282" cy="476355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F6DD168-B1F7-4885-A7B6-C7CE743732AB}"/>
              </a:ext>
            </a:extLst>
          </p:cNvPr>
          <p:cNvSpPr txBox="1"/>
          <p:nvPr userDrawn="1"/>
        </p:nvSpPr>
        <p:spPr>
          <a:xfrm>
            <a:off x="6336792" y="6473952"/>
            <a:ext cx="490118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eloitte Cloud Institut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7EE45B84-5546-410E-BFA9-0EE3C4CCC87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01649" y="304800"/>
            <a:ext cx="11281285" cy="3401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15368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6" r:id="rId1"/>
    <p:sldLayoutId id="2147484241" r:id="rId2"/>
    <p:sldLayoutId id="2147484242" r:id="rId3"/>
    <p:sldLayoutId id="2147484243" r:id="rId4"/>
    <p:sldLayoutId id="2147484244" r:id="rId5"/>
    <p:sldLayoutId id="2147484245" r:id="rId6"/>
    <p:sldLayoutId id="2147484246" r:id="rId7"/>
    <p:sldLayoutId id="2147484247" r:id="rId8"/>
    <p:sldLayoutId id="2147484248" r:id="rId9"/>
    <p:sldLayoutId id="2147484249" r:id="rId10"/>
    <p:sldLayoutId id="2147484250" r:id="rId11"/>
    <p:sldLayoutId id="2147484251" r:id="rId12"/>
    <p:sldLayoutId id="2147484252" r:id="rId13"/>
    <p:sldLayoutId id="2147484253" r:id="rId14"/>
    <p:sldLayoutId id="2147484254" r:id="rId15"/>
    <p:sldLayoutId id="2147484255" r:id="rId16"/>
    <p:sldLayoutId id="2147484256" r:id="rId17"/>
    <p:sldLayoutId id="2147484257" r:id="rId18"/>
    <p:sldLayoutId id="2147484258" r:id="rId19"/>
    <p:sldLayoutId id="2147484259" r:id="rId20"/>
    <p:sldLayoutId id="2147484260" r:id="rId21"/>
    <p:sldLayoutId id="2147484261" r:id="rId22"/>
    <p:sldLayoutId id="2147484262" r:id="rId23"/>
    <p:sldLayoutId id="2147484263" r:id="rId24"/>
    <p:sldLayoutId id="2147484264" r:id="rId25"/>
    <p:sldLayoutId id="2147484265" r:id="rId26"/>
    <p:sldLayoutId id="2147484266" r:id="rId27"/>
    <p:sldLayoutId id="2147484267" r:id="rId28"/>
    <p:sldLayoutId id="2147484268" r:id="rId29"/>
    <p:sldLayoutId id="2147484269" r:id="rId30"/>
    <p:sldLayoutId id="2147484287" r:id="rId31"/>
    <p:sldLayoutId id="2147484288" r:id="rId32"/>
    <p:sldLayoutId id="2147484289" r:id="rId33"/>
    <p:sldLayoutId id="2147484290" r:id="rId34"/>
    <p:sldLayoutId id="2147484291" r:id="rId35"/>
    <p:sldLayoutId id="2147484292" r:id="rId36"/>
    <p:sldLayoutId id="2147484293" r:id="rId37"/>
    <p:sldLayoutId id="2147484294" r:id="rId38"/>
    <p:sldLayoutId id="2147484295" r:id="rId39"/>
    <p:sldLayoutId id="2147484296" r:id="rId40"/>
    <p:sldLayoutId id="2147484303" r:id="rId41"/>
    <p:sldLayoutId id="2147484302" r:id="rId42"/>
    <p:sldLayoutId id="2147484060" r:id="rId43"/>
    <p:sldLayoutId id="2147484270" r:id="rId44"/>
    <p:sldLayoutId id="2147484271" r:id="rId45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j-lt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200" b="0" kern="1200">
          <a:solidFill>
            <a:schemeClr val="tx1"/>
          </a:solidFill>
          <a:latin typeface="+mj-lt"/>
          <a:ea typeface="Open Sans" panose="020B0606030504020204" pitchFamily="34" charset="0"/>
          <a:cs typeface="Open Sans" panose="020B0606030504020204" pitchFamily="34" charset="0"/>
        </a:defRPr>
      </a:lvl1pPr>
      <a:lvl2pPr marL="1397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b="1" kern="1200" dirty="0" smtClean="0">
          <a:solidFill>
            <a:schemeClr val="tx1"/>
          </a:solidFill>
          <a:latin typeface="+mj-lt"/>
          <a:ea typeface="Open Sans" panose="020B0606030504020204" pitchFamily="34" charset="0"/>
          <a:cs typeface="Open Sans" panose="020B0606030504020204" pitchFamily="34" charset="0"/>
        </a:defRPr>
      </a:lvl2pPr>
      <a:lvl3pPr marL="3048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j-lt"/>
          <a:ea typeface="Open Sans" panose="020B0606030504020204" pitchFamily="34" charset="0"/>
          <a:cs typeface="Open Sans" panose="020B0606030504020204" pitchFamily="34" charset="0"/>
        </a:defRPr>
      </a:lvl3pPr>
      <a:lvl4pPr marL="4699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j-lt"/>
          <a:ea typeface="Open Sans" panose="020B0606030504020204" pitchFamily="34" charset="0"/>
          <a:cs typeface="Open Sans" panose="020B0606030504020204" pitchFamily="34" charset="0"/>
        </a:defRPr>
      </a:lvl4pPr>
      <a:lvl5pPr marL="635000" indent="-1397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j-lt"/>
          <a:ea typeface="Open Sans" panose="020B0606030504020204" pitchFamily="34" charset="0"/>
          <a:cs typeface="Open Sans" panose="020B0606030504020204" pitchFamily="34" charset="0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4020">
          <p15:clr>
            <a:srgbClr val="F26B43"/>
          </p15:clr>
        </p15:guide>
        <p15:guide id="8" orient="horz" pos="4080">
          <p15:clr>
            <a:srgbClr val="F26B43"/>
          </p15:clr>
        </p15:guide>
        <p15:guide id="27" pos="7368">
          <p15:clr>
            <a:srgbClr val="F26B43"/>
          </p15:clr>
        </p15:guide>
        <p15:guide id="51" orient="horz" pos="4081" userDrawn="1">
          <p15:clr>
            <a:srgbClr val="A4A3A4"/>
          </p15:clr>
        </p15:guide>
        <p15:guide id="52" pos="312" userDrawn="1">
          <p15:clr>
            <a:srgbClr val="F26B43"/>
          </p15:clr>
        </p15:guide>
        <p15:guide id="53" pos="1392" userDrawn="1">
          <p15:clr>
            <a:srgbClr val="F26B43"/>
          </p15:clr>
        </p15:guide>
        <p15:guide id="54" pos="1512" userDrawn="1">
          <p15:clr>
            <a:srgbClr val="F26B43"/>
          </p15:clr>
        </p15:guide>
        <p15:guide id="55" pos="2592" userDrawn="1">
          <p15:clr>
            <a:srgbClr val="F26B43"/>
          </p15:clr>
        </p15:guide>
        <p15:guide id="56" pos="2712" userDrawn="1">
          <p15:clr>
            <a:srgbClr val="F26B43"/>
          </p15:clr>
        </p15:guide>
        <p15:guide id="57" pos="3840" userDrawn="1">
          <p15:clr>
            <a:srgbClr val="F26B43"/>
          </p15:clr>
        </p15:guide>
        <p15:guide id="58" pos="3768" userDrawn="1">
          <p15:clr>
            <a:srgbClr val="F26B43"/>
          </p15:clr>
        </p15:guide>
        <p15:guide id="59" pos="3912" userDrawn="1">
          <p15:clr>
            <a:srgbClr val="F26B43"/>
          </p15:clr>
        </p15:guide>
        <p15:guide id="60" pos="5112" userDrawn="1">
          <p15:clr>
            <a:srgbClr val="F26B43"/>
          </p15:clr>
        </p15:guide>
        <p15:guide id="61" pos="6168" userDrawn="1">
          <p15:clr>
            <a:srgbClr val="F26B43"/>
          </p15:clr>
        </p15:guide>
        <p15:guide id="62" pos="6288" userDrawn="1">
          <p15:clr>
            <a:srgbClr val="F26B43"/>
          </p15:clr>
        </p15:guide>
        <p15:guide id="63" pos="4968" userDrawn="1">
          <p15:clr>
            <a:srgbClr val="F26B43"/>
          </p15:clr>
        </p15:guide>
        <p15:guide id="64" orient="horz" pos="192" userDrawn="1">
          <p15:clr>
            <a:srgbClr val="F26B43"/>
          </p15:clr>
        </p15:guide>
        <p15:guide id="65" orient="horz" pos="1056" userDrawn="1">
          <p15:clr>
            <a:srgbClr val="F26B43"/>
          </p15:clr>
        </p15:guide>
        <p15:guide id="66" orient="horz" pos="2232" userDrawn="1">
          <p15:clr>
            <a:srgbClr val="F26B43"/>
          </p15:clr>
        </p15:guide>
        <p15:guide id="67" orient="horz" pos="40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amedeloitte.sharepoint.com/:b:/s/CloudInstituteRegistrationInformation/EQ2IRCA4ympIm_53_GJUNZsBAMe9Q4dZP3W2YVQCOtPZ9g?e=HDlSfZ" TargetMode="External"/><Relationship Id="rId3" Type="http://schemas.openxmlformats.org/officeDocument/2006/relationships/hyperlink" Target="https://vtms.deloitte.com/" TargetMode="External"/><Relationship Id="rId7" Type="http://schemas.openxmlformats.org/officeDocument/2006/relationships/hyperlink" Target="https://aws.amazon.com/certification/faqs/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2.jpeg"/><Relationship Id="rId5" Type="http://schemas.openxmlformats.org/officeDocument/2006/relationships/hyperlink" Target="mailto:externallearning@deloitte.com" TargetMode="External"/><Relationship Id="rId4" Type="http://schemas.openxmlformats.org/officeDocument/2006/relationships/hyperlink" Target="mailto:support@xvoucher.com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amedeloitte.sharepoint.com/:b:/s/CloudInstituteRegistrationInformation/EYyf61yeNCFEpX1ttkkgdDUBL2z7voZruUuIiE6lVlGx3A?e=zyp9Uk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3.jpeg"/><Relationship Id="rId4" Type="http://schemas.openxmlformats.org/officeDocument/2006/relationships/hyperlink" Target="https://docs.microsoft.com/en-us/certifications/exam-retake-policy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google.com/forms/d/e/1FAIpQLScxldoZnKg8CXOdY5brBpHJqLssKwvzpNTvgHuYRCB0sW-roA/viewform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8.xml"/><Relationship Id="rId6" Type="http://schemas.openxmlformats.org/officeDocument/2006/relationships/hyperlink" Target="https://cloud.google.com/certification/terms#:~:text=Failing%20and%20Retaking%20the%20Exam,60)%20days%20before%20doing%20so" TargetMode="External"/><Relationship Id="rId5" Type="http://schemas.openxmlformats.org/officeDocument/2006/relationships/hyperlink" Target="https://amedeloitte.sharepoint.com/:b:/s/CloudInstituteRegistrationInformation/EW0kh-8oAxNJkl_fR-gypj8BYejW1j0Xy3PFVH1IbUTZzg?e=MmbQeP" TargetMode="Externa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education.oracle.com/file/general/13_Book%20OCI%20Certification%20Exams%20June%202022.pdf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If%20additional%20certification%20exam%20attempts%20are%20required,%20they%20can%20be%20purchased%20separately%20from%20our%20website%20at%20training.mulesoft.com/certification.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train.boomi.com/login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7.png"/><Relationship Id="rId4" Type="http://schemas.openxmlformats.org/officeDocument/2006/relationships/hyperlink" Target="https://community.boomi.com/s/article/BoomiTrainingHelpampFAQ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042B7E-E9A7-4B2A-A2F4-83BDC7FDD0C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1650" y="651600"/>
            <a:ext cx="11188700" cy="548640"/>
          </a:xfrm>
        </p:spPr>
        <p:txBody>
          <a:bodyPr/>
          <a:lstStyle/>
          <a:p>
            <a:r>
              <a:rPr lang="en-US" dirty="0">
                <a:latin typeface="Open Sans" panose="020B0606030504020204" pitchFamily="34" charset="0"/>
              </a:rPr>
              <a:t>The Cloud Institute strongly encourages you to schedule and complete your certification exam as soon as possible after you complete the self-study, while information is fresh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75DAC58-D2E4-4FB5-A58D-1D6DE131B3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ertification Exam – </a:t>
            </a:r>
            <a:r>
              <a:rPr lang="en-US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WS</a:t>
            </a:r>
          </a:p>
        </p:txBody>
      </p:sp>
      <p:graphicFrame>
        <p:nvGraphicFramePr>
          <p:cNvPr id="2" name="Table 4">
            <a:extLst>
              <a:ext uri="{FF2B5EF4-FFF2-40B4-BE49-F238E27FC236}">
                <a16:creationId xmlns:a16="http://schemas.microsoft.com/office/drawing/2014/main" id="{BDBF5181-BB7B-4F00-A96C-EFA4508D81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212872"/>
              </p:ext>
            </p:extLst>
          </p:nvPr>
        </p:nvGraphicFramePr>
        <p:xfrm>
          <a:off x="501650" y="1528378"/>
          <a:ext cx="10779493" cy="2484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76471">
                  <a:extLst>
                    <a:ext uri="{9D8B030D-6E8A-4147-A177-3AD203B41FA5}">
                      <a16:colId xmlns:a16="http://schemas.microsoft.com/office/drawing/2014/main" val="3049599846"/>
                    </a:ext>
                  </a:extLst>
                </a:gridCol>
                <a:gridCol w="9103022">
                  <a:extLst>
                    <a:ext uri="{9D8B030D-6E8A-4147-A177-3AD203B41FA5}">
                      <a16:colId xmlns:a16="http://schemas.microsoft.com/office/drawing/2014/main" val="23186943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en-US" sz="120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E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E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E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32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2F3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cheduling and Exam Retak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E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E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E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E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2F3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9278976"/>
                  </a:ext>
                </a:extLst>
              </a:tr>
              <a:tr h="1056640">
                <a:tc rowSpan="2">
                  <a:txBody>
                    <a:bodyPr/>
                    <a:lstStyle/>
                    <a:p>
                      <a:endParaRPr lang="en-US" sz="1200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E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E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32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2F3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en-US" sz="1100" b="1" i="0" u="none" strike="noStrike" kern="1200" baseline="0" dirty="0">
                          <a:solidFill>
                            <a:schemeClr val="dk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US/USI Consulting practitioners</a:t>
                      </a:r>
                      <a:r>
                        <a:rPr lang="en-US" sz="1100" b="0" i="0" u="none" strike="noStrike" kern="1200" baseline="0" dirty="0">
                          <a:solidFill>
                            <a:schemeClr val="dk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: Submit a request through the </a:t>
                      </a:r>
                      <a:r>
                        <a:rPr lang="en-US" sz="1100" b="0" i="0" u="none" strike="noStrike" kern="1200" baseline="0" dirty="0">
                          <a:solidFill>
                            <a:schemeClr val="dk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hlinkClick r:id="rId3"/>
                        </a:rPr>
                        <a:t>Vendor Training Management System (VTMS)</a:t>
                      </a:r>
                      <a:r>
                        <a:rPr lang="en-US" sz="1100" b="0" i="0" u="none" strike="noStrike" kern="1200" baseline="0" dirty="0">
                          <a:solidFill>
                            <a:schemeClr val="dk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. </a:t>
                      </a:r>
                    </a:p>
                    <a:p>
                      <a:pPr marL="171450" indent="-17145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baseline="0" dirty="0">
                          <a:solidFill>
                            <a:schemeClr val="dk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e prepared to </a:t>
                      </a:r>
                      <a:r>
                        <a:rPr lang="en-US" sz="1100" i="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ttach a screenshot of the course completion certificate. </a:t>
                      </a:r>
                    </a:p>
                    <a:p>
                      <a:pPr marL="171450" indent="-17145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baseline="0" dirty="0">
                          <a:solidFill>
                            <a:schemeClr val="dk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uchers are distributed weekly on Tuesdays from the </a:t>
                      </a:r>
                      <a:r>
                        <a:rPr lang="en-US" sz="1100" b="0" i="0" u="none" strike="noStrike" kern="1200" baseline="0" dirty="0" err="1">
                          <a:solidFill>
                            <a:schemeClr val="dk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Xvouchermailbox</a:t>
                      </a:r>
                      <a:r>
                        <a:rPr lang="en-US" sz="1100" b="0" i="0" u="none" strike="noStrike" kern="1200" baseline="0" dirty="0">
                          <a:solidFill>
                            <a:schemeClr val="dk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(</a:t>
                      </a:r>
                      <a:r>
                        <a:rPr lang="en-US" sz="1100" b="0" i="0" u="none" strike="noStrike" kern="1200" baseline="0" dirty="0">
                          <a:solidFill>
                            <a:schemeClr val="dk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hlinkClick r:id="rId4"/>
                        </a:rPr>
                        <a:t>support@xvoucher.com</a:t>
                      </a:r>
                      <a:r>
                        <a:rPr lang="en-US" sz="1100" b="0" i="0" u="none" strike="noStrike" kern="1200" baseline="0" dirty="0">
                          <a:solidFill>
                            <a:schemeClr val="dk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). </a:t>
                      </a:r>
                      <a:endParaRPr lang="en-US" sz="1100" i="0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E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E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E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E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572883"/>
                  </a:ext>
                </a:extLst>
              </a:tr>
              <a:tr h="105664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600"/>
                        </a:spcBef>
                        <a:buFont typeface="+mj-lt"/>
                        <a:buNone/>
                      </a:pPr>
                      <a:r>
                        <a:rPr lang="en-US" sz="1100" b="1" i="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ll other practitioners:</a:t>
                      </a:r>
                      <a:r>
                        <a:rPr lang="en-US" sz="1100" i="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Submit a request to the VTMS Mailbox (</a:t>
                      </a:r>
                      <a:r>
                        <a:rPr lang="en-US" sz="1100" i="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hlinkClick r:id="rId5"/>
                        </a:rPr>
                        <a:t>externallearning@deloitte.com</a:t>
                      </a:r>
                      <a:r>
                        <a:rPr lang="en-US" sz="1100" i="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).</a:t>
                      </a:r>
                    </a:p>
                    <a:p>
                      <a:pPr marL="171450" indent="-17145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100" i="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Include </a:t>
                      </a:r>
                      <a:r>
                        <a:rPr lang="en-US" sz="1100" b="1" i="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quest for AWS Voucher</a:t>
                      </a:r>
                      <a:r>
                        <a:rPr lang="en-US" sz="1100" i="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in the subject line and attach a screenshot of the course completion certificate. </a:t>
                      </a:r>
                    </a:p>
                    <a:p>
                      <a:pPr marL="171450" indent="-17145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100" i="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quests are processed within 5 business days and vouchers are distributed weekly on Tuesdays from the </a:t>
                      </a:r>
                      <a:r>
                        <a:rPr lang="en-US" sz="1100" i="0" dirty="0" err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Xvouchermailbox</a:t>
                      </a:r>
                      <a:r>
                        <a:rPr lang="en-US" sz="1100" i="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(</a:t>
                      </a:r>
                      <a:r>
                        <a:rPr lang="en-US" sz="1100" i="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hlinkClick r:id="rId4"/>
                        </a:rPr>
                        <a:t>support@xvoucher.com</a:t>
                      </a:r>
                      <a:r>
                        <a:rPr lang="en-US" sz="1100" i="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).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E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E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E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E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1030149"/>
                  </a:ext>
                </a:extLst>
              </a:tr>
            </a:tbl>
          </a:graphicData>
        </a:graphic>
      </p:graphicFrame>
      <p:pic>
        <p:nvPicPr>
          <p:cNvPr id="26" name="Picture 25" descr="Logo&#10;&#10;Description automatically generated">
            <a:extLst>
              <a:ext uri="{FF2B5EF4-FFF2-40B4-BE49-F238E27FC236}">
                <a16:creationId xmlns:a16="http://schemas.microsoft.com/office/drawing/2014/main" id="{36C82127-E98D-4F2F-B0B1-F29ADD288CF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2283" y="2710884"/>
            <a:ext cx="1655064" cy="1655064"/>
          </a:xfrm>
          <a:prstGeom prst="rect">
            <a:avLst/>
          </a:prstGeom>
          <a:ln>
            <a:noFill/>
          </a:ln>
        </p:spPr>
      </p:pic>
      <p:graphicFrame>
        <p:nvGraphicFramePr>
          <p:cNvPr id="45" name="Table 4">
            <a:extLst>
              <a:ext uri="{FF2B5EF4-FFF2-40B4-BE49-F238E27FC236}">
                <a16:creationId xmlns:a16="http://schemas.microsoft.com/office/drawing/2014/main" id="{58AF3206-064C-4182-B17E-1517574B1B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9464090"/>
              </p:ext>
            </p:extLst>
          </p:nvPr>
        </p:nvGraphicFramePr>
        <p:xfrm>
          <a:off x="501650" y="4000295"/>
          <a:ext cx="10779493" cy="15481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76471">
                  <a:extLst>
                    <a:ext uri="{9D8B030D-6E8A-4147-A177-3AD203B41FA5}">
                      <a16:colId xmlns:a16="http://schemas.microsoft.com/office/drawing/2014/main" val="3049599846"/>
                    </a:ext>
                  </a:extLst>
                </a:gridCol>
                <a:gridCol w="3935600">
                  <a:extLst>
                    <a:ext uri="{9D8B030D-6E8A-4147-A177-3AD203B41FA5}">
                      <a16:colId xmlns:a16="http://schemas.microsoft.com/office/drawing/2014/main" val="231869436"/>
                    </a:ext>
                  </a:extLst>
                </a:gridCol>
                <a:gridCol w="5167422">
                  <a:extLst>
                    <a:ext uri="{9D8B030D-6E8A-4147-A177-3AD203B41FA5}">
                      <a16:colId xmlns:a16="http://schemas.microsoft.com/office/drawing/2014/main" val="2863181381"/>
                    </a:ext>
                  </a:extLst>
                </a:gridCol>
              </a:tblGrid>
              <a:tr h="298479">
                <a:tc>
                  <a:txBody>
                    <a:bodyPr/>
                    <a:lstStyle/>
                    <a:p>
                      <a:pPr algn="ctr"/>
                      <a:endParaRPr lang="en-US" sz="1200" b="1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ED8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2F3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source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E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E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E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2F3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Font typeface="+mj-lt"/>
                        <a:buNone/>
                      </a:pPr>
                      <a:r>
                        <a:rPr lang="en-US" sz="1200" b="1" i="0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minders 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E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E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E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E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2F3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88856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>
                        <a:buSzPct val="100000"/>
                      </a:pPr>
                      <a:endParaRPr lang="en-US" sz="1100" b="1" dirty="0">
                        <a:solidFill>
                          <a:srgbClr val="31313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E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E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E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2F3F"/>
                    </a:solidFill>
                  </a:tcPr>
                </a:tc>
                <a:tc>
                  <a:txBody>
                    <a:bodyPr/>
                    <a:lstStyle/>
                    <a:p>
                      <a:pPr marL="182880" indent="-182880">
                        <a:spcBef>
                          <a:spcPts val="600"/>
                        </a:spcBef>
                        <a:spcAft>
                          <a:spcPts val="0"/>
                        </a:spcAft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solidFill>
                            <a:srgbClr val="31313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take Policy: </a:t>
                      </a:r>
                      <a:r>
                        <a:rPr lang="en-US" sz="1100" dirty="0">
                          <a:solidFill>
                            <a:srgbClr val="31313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hlinkClick r:id="rId7"/>
                        </a:rPr>
                        <a:t>Click Here</a:t>
                      </a:r>
                      <a:endParaRPr lang="en-US" sz="1100" dirty="0">
                        <a:solidFill>
                          <a:srgbClr val="31313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182880" indent="-182880">
                        <a:spcBef>
                          <a:spcPts val="600"/>
                        </a:spcBef>
                        <a:spcAft>
                          <a:spcPts val="0"/>
                        </a:spcAft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solidFill>
                            <a:srgbClr val="31313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hlinkClick r:id="rId8"/>
                        </a:rPr>
                        <a:t>Pearson </a:t>
                      </a:r>
                      <a:r>
                        <a:rPr lang="en-US" sz="1100" dirty="0" err="1">
                          <a:solidFill>
                            <a:srgbClr val="31313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hlinkClick r:id="rId8"/>
                        </a:rPr>
                        <a:t>OnVue</a:t>
                      </a:r>
                      <a:r>
                        <a:rPr lang="en-US" sz="1100" dirty="0">
                          <a:solidFill>
                            <a:srgbClr val="31313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hlinkClick r:id="rId8"/>
                        </a:rPr>
                        <a:t> Practitioner Guide</a:t>
                      </a:r>
                      <a:endParaRPr lang="en-US" sz="1100" dirty="0">
                        <a:solidFill>
                          <a:srgbClr val="31313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E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E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E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E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2880" indent="-182880"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Exam vouchers will </a:t>
                      </a:r>
                      <a:r>
                        <a:rPr lang="en-US" sz="110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e provided; </a:t>
                      </a:r>
                      <a:r>
                        <a:rPr lang="en-US" sz="110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you do not need to purchase your own voucher.</a:t>
                      </a:r>
                    </a:p>
                    <a:p>
                      <a:pPr marL="182880" indent="-182880"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e sure to check your junk folder if you do not see the exam voucher in your inbox.</a:t>
                      </a:r>
                    </a:p>
                    <a:p>
                      <a:pPr marL="182880" indent="-182880"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Disregard additional emails from </a:t>
                      </a:r>
                      <a:r>
                        <a:rPr lang="en-US" sz="1100" dirty="0" err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Xvoucher</a:t>
                      </a:r>
                      <a:r>
                        <a:rPr lang="en-US" sz="110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that direct you to create an account within their system—</a:t>
                      </a:r>
                      <a:r>
                        <a:rPr lang="en-US" sz="11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you do not need to take this step</a:t>
                      </a:r>
                      <a:r>
                        <a:rPr lang="en-US" sz="110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.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E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E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E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E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77239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86064630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042B7E-E9A7-4B2A-A2F4-83BDC7FDD0C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1650" y="651601"/>
            <a:ext cx="11188700" cy="548640"/>
          </a:xfrm>
        </p:spPr>
        <p:txBody>
          <a:bodyPr/>
          <a:lstStyle/>
          <a:p>
            <a:r>
              <a:rPr lang="en-US" dirty="0">
                <a:latin typeface="Open Sans" panose="020B0606030504020204" pitchFamily="34" charset="0"/>
              </a:rPr>
              <a:t>The Cloud Institute strongly encourages you to schedule and complete your certification exam as soon as possible after you complete the self-study, while information is fresh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75DAC58-D2E4-4FB5-A58D-1D6DE131B3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ertification Exam – </a:t>
            </a:r>
            <a:r>
              <a:rPr lang="en-US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zure</a:t>
            </a:r>
          </a:p>
        </p:txBody>
      </p:sp>
      <p:graphicFrame>
        <p:nvGraphicFramePr>
          <p:cNvPr id="2" name="Table 4">
            <a:extLst>
              <a:ext uri="{FF2B5EF4-FFF2-40B4-BE49-F238E27FC236}">
                <a16:creationId xmlns:a16="http://schemas.microsoft.com/office/drawing/2014/main" id="{BDBF5181-BB7B-4F00-A96C-EFA4508D81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5226963"/>
              </p:ext>
            </p:extLst>
          </p:nvPr>
        </p:nvGraphicFramePr>
        <p:xfrm>
          <a:off x="501650" y="1536535"/>
          <a:ext cx="10779493" cy="1559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76471">
                  <a:extLst>
                    <a:ext uri="{9D8B030D-6E8A-4147-A177-3AD203B41FA5}">
                      <a16:colId xmlns:a16="http://schemas.microsoft.com/office/drawing/2014/main" val="3049599846"/>
                    </a:ext>
                  </a:extLst>
                </a:gridCol>
                <a:gridCol w="9103022">
                  <a:extLst>
                    <a:ext uri="{9D8B030D-6E8A-4147-A177-3AD203B41FA5}">
                      <a16:colId xmlns:a16="http://schemas.microsoft.com/office/drawing/2014/main" val="23186943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57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57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7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7D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cheduling and Exam Retak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57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57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7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7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9278976"/>
                  </a:ext>
                </a:extLst>
              </a:tr>
              <a:tr h="1188720">
                <a:tc>
                  <a:txBody>
                    <a:bodyPr/>
                    <a:lstStyle/>
                    <a:p>
                      <a:endParaRPr lang="en-US" sz="1200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57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57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57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7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7DE"/>
                    </a:solidFill>
                  </a:tcPr>
                </a:tc>
                <a:tc>
                  <a:txBody>
                    <a:bodyPr/>
                    <a:lstStyle/>
                    <a:p>
                      <a:pPr marL="182880" indent="-182880">
                        <a:spcBef>
                          <a:spcPts val="600"/>
                        </a:spcBef>
                        <a:buSzPct val="100000"/>
                        <a:buFont typeface="+mj-lt"/>
                        <a:buAutoNum type="arabicPeriod"/>
                      </a:pPr>
                      <a:r>
                        <a:rPr lang="en-US" sz="1100" dirty="0">
                          <a:solidFill>
                            <a:srgbClr val="31313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ad the </a:t>
                      </a:r>
                      <a:r>
                        <a:rPr lang="en-US" sz="1100" dirty="0">
                          <a:solidFill>
                            <a:srgbClr val="31313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hlinkClick r:id="rId3"/>
                        </a:rPr>
                        <a:t>Azure Scheduling Guide</a:t>
                      </a:r>
                      <a:endParaRPr lang="en-US" sz="1100" dirty="0">
                        <a:solidFill>
                          <a:srgbClr val="31313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182880" indent="-182880">
                        <a:spcBef>
                          <a:spcPts val="600"/>
                        </a:spcBef>
                        <a:buSzPct val="100000"/>
                        <a:buFont typeface="+mj-lt"/>
                        <a:buAutoNum type="arabicPeriod"/>
                      </a:pPr>
                      <a:r>
                        <a:rPr lang="en-US" sz="1100" dirty="0">
                          <a:solidFill>
                            <a:srgbClr val="31313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quest an exam voucher and schedule your exam by following the steps in the guid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57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57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57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7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572883"/>
                  </a:ext>
                </a:extLst>
              </a:tr>
            </a:tbl>
          </a:graphicData>
        </a:graphic>
      </p:graphicFrame>
      <p:graphicFrame>
        <p:nvGraphicFramePr>
          <p:cNvPr id="45" name="Table 4">
            <a:extLst>
              <a:ext uri="{FF2B5EF4-FFF2-40B4-BE49-F238E27FC236}">
                <a16:creationId xmlns:a16="http://schemas.microsoft.com/office/drawing/2014/main" id="{58AF3206-064C-4182-B17E-1517574B1B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3931972"/>
              </p:ext>
            </p:extLst>
          </p:nvPr>
        </p:nvGraphicFramePr>
        <p:xfrm>
          <a:off x="501650" y="3096095"/>
          <a:ext cx="10779493" cy="18776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76471">
                  <a:extLst>
                    <a:ext uri="{9D8B030D-6E8A-4147-A177-3AD203B41FA5}">
                      <a16:colId xmlns:a16="http://schemas.microsoft.com/office/drawing/2014/main" val="3049599846"/>
                    </a:ext>
                  </a:extLst>
                </a:gridCol>
                <a:gridCol w="3935600">
                  <a:extLst>
                    <a:ext uri="{9D8B030D-6E8A-4147-A177-3AD203B41FA5}">
                      <a16:colId xmlns:a16="http://schemas.microsoft.com/office/drawing/2014/main" val="231869436"/>
                    </a:ext>
                  </a:extLst>
                </a:gridCol>
                <a:gridCol w="5167422">
                  <a:extLst>
                    <a:ext uri="{9D8B030D-6E8A-4147-A177-3AD203B41FA5}">
                      <a16:colId xmlns:a16="http://schemas.microsoft.com/office/drawing/2014/main" val="2863181381"/>
                    </a:ext>
                  </a:extLst>
                </a:gridCol>
              </a:tblGrid>
              <a:tr h="323171">
                <a:tc>
                  <a:txBody>
                    <a:bodyPr/>
                    <a:lstStyle/>
                    <a:p>
                      <a:pPr algn="ctr"/>
                      <a:endParaRPr lang="en-US" sz="1200" b="1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57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57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7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7D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sourc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57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7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7D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Font typeface="+mj-lt"/>
                        <a:buNone/>
                      </a:pPr>
                      <a:r>
                        <a:rPr lang="en-US" sz="1200" b="1" i="0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minders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57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57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7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7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8885600"/>
                  </a:ext>
                </a:extLst>
              </a:tr>
              <a:tr h="1554480">
                <a:tc>
                  <a:txBody>
                    <a:bodyPr/>
                    <a:lstStyle/>
                    <a:p>
                      <a:pPr algn="ctr">
                        <a:buSzPct val="100000"/>
                      </a:pPr>
                      <a:endParaRPr lang="en-US" sz="1100" b="1" dirty="0">
                        <a:solidFill>
                          <a:srgbClr val="31313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57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57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57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7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7DE"/>
                    </a:solidFill>
                  </a:tcPr>
                </a:tc>
                <a:tc>
                  <a:txBody>
                    <a:bodyPr/>
                    <a:lstStyle/>
                    <a:p>
                      <a:pPr marL="182880" indent="-182880">
                        <a:spcBef>
                          <a:spcPts val="600"/>
                        </a:spcBef>
                        <a:spcAft>
                          <a:spcPts val="0"/>
                        </a:spcAft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solidFill>
                            <a:srgbClr val="31313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hlinkClick r:id="rId3"/>
                        </a:rPr>
                        <a:t>Azure Scheduling Guide</a:t>
                      </a:r>
                      <a:endParaRPr lang="en-US" sz="1100" dirty="0">
                        <a:solidFill>
                          <a:srgbClr val="31313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57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57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57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7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2880" indent="-182880"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quest exam vouchers by following the steps in the Azure Scheduling Guide; you do not need to purchase your own voucher.</a:t>
                      </a:r>
                    </a:p>
                    <a:p>
                      <a:pPr marL="182880" indent="-182880"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For retakes, be sure you are adhering to the </a:t>
                      </a:r>
                      <a:r>
                        <a:rPr lang="en-US" sz="110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hlinkClick r:id="rId4"/>
                        </a:rPr>
                        <a:t>Azure exam retake policies</a:t>
                      </a:r>
                      <a:endParaRPr lang="en-US" sz="1100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57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57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57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7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7723935"/>
                  </a:ext>
                </a:extLst>
              </a:tr>
            </a:tbl>
          </a:graphicData>
        </a:graphic>
      </p:graphicFrame>
      <p:pic>
        <p:nvPicPr>
          <p:cNvPr id="8" name="Picture 7" descr="Icon&#10;&#10;Description automatically generated">
            <a:extLst>
              <a:ext uri="{FF2B5EF4-FFF2-40B4-BE49-F238E27FC236}">
                <a16:creationId xmlns:a16="http://schemas.microsoft.com/office/drawing/2014/main" id="{065A6CFA-C41C-4AE3-BCF4-CD55845C4DB3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682" y="3017100"/>
            <a:ext cx="476081" cy="47608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9E9A80C-D1F6-4CE1-A888-F09FADE1F195}"/>
              </a:ext>
            </a:extLst>
          </p:cNvPr>
          <p:cNvSpPr txBox="1"/>
          <p:nvPr/>
        </p:nvSpPr>
        <p:spPr>
          <a:xfrm>
            <a:off x="967484" y="2528665"/>
            <a:ext cx="110655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1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S Azure</a:t>
            </a:r>
          </a:p>
        </p:txBody>
      </p:sp>
    </p:spTree>
    <p:extLst>
      <p:ext uri="{BB962C8B-B14F-4D97-AF65-F5344CB8AC3E}">
        <p14:creationId xmlns:p14="http://schemas.microsoft.com/office/powerpoint/2010/main" val="3853232496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042B7E-E9A7-4B2A-A2F4-83BDC7FDD0C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1650" y="651600"/>
            <a:ext cx="11188700" cy="548640"/>
          </a:xfrm>
        </p:spPr>
        <p:txBody>
          <a:bodyPr/>
          <a:lstStyle/>
          <a:p>
            <a:r>
              <a:rPr lang="en-US" dirty="0">
                <a:latin typeface="Open Sans" panose="020B0606030504020204" pitchFamily="34" charset="0"/>
              </a:rPr>
              <a:t>The Cloud Institute strongly encourages you to schedule and complete your certification exam as soon as possible after you complete the self-study, while information is fresh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75DAC58-D2E4-4FB5-A58D-1D6DE131B3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ertification Exam – </a:t>
            </a:r>
            <a:r>
              <a:rPr lang="en-US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GCP</a:t>
            </a:r>
          </a:p>
        </p:txBody>
      </p:sp>
      <p:graphicFrame>
        <p:nvGraphicFramePr>
          <p:cNvPr id="2" name="Table 4">
            <a:extLst>
              <a:ext uri="{FF2B5EF4-FFF2-40B4-BE49-F238E27FC236}">
                <a16:creationId xmlns:a16="http://schemas.microsoft.com/office/drawing/2014/main" id="{BDBF5181-BB7B-4F00-A96C-EFA4508D81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4765941"/>
              </p:ext>
            </p:extLst>
          </p:nvPr>
        </p:nvGraphicFramePr>
        <p:xfrm>
          <a:off x="501648" y="1535101"/>
          <a:ext cx="10779493" cy="20350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23837">
                  <a:extLst>
                    <a:ext uri="{9D8B030D-6E8A-4147-A177-3AD203B41FA5}">
                      <a16:colId xmlns:a16="http://schemas.microsoft.com/office/drawing/2014/main" val="3049599846"/>
                    </a:ext>
                  </a:extLst>
                </a:gridCol>
                <a:gridCol w="8755656">
                  <a:extLst>
                    <a:ext uri="{9D8B030D-6E8A-4147-A177-3AD203B41FA5}">
                      <a16:colId xmlns:a16="http://schemas.microsoft.com/office/drawing/2014/main" val="23186943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cheduling and Exam Retake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43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9278976"/>
                  </a:ext>
                </a:extLst>
              </a:tr>
              <a:tr h="1664208">
                <a:tc>
                  <a:txBody>
                    <a:bodyPr/>
                    <a:lstStyle/>
                    <a:p>
                      <a:endParaRPr lang="en-US" sz="1200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880" indent="-182880">
                        <a:spcBef>
                          <a:spcPts val="600"/>
                        </a:spcBef>
                        <a:buSzPct val="100000"/>
                        <a:buFont typeface="+mj-lt"/>
                        <a:buAutoNum type="arabicPeriod"/>
                      </a:pPr>
                      <a:r>
                        <a:rPr lang="en-US" sz="1100" dirty="0">
                          <a:solidFill>
                            <a:srgbClr val="31313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omplete the </a:t>
                      </a:r>
                      <a:r>
                        <a:rPr lang="en-US" sz="1100" dirty="0">
                          <a:solidFill>
                            <a:srgbClr val="31313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hlinkClick r:id="rId3"/>
                        </a:rPr>
                        <a:t>GCP Exam Voucher Request Form</a:t>
                      </a:r>
                      <a:r>
                        <a:rPr lang="en-US" sz="1100" dirty="0">
                          <a:solidFill>
                            <a:srgbClr val="31313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</a:t>
                      </a:r>
                      <a:r>
                        <a:rPr lang="en-US" sz="1100" b="1" dirty="0">
                          <a:solidFill>
                            <a:srgbClr val="31313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one week before your bootcamp </a:t>
                      </a:r>
                      <a:r>
                        <a:rPr lang="en-US" sz="1100" dirty="0">
                          <a:solidFill>
                            <a:srgbClr val="31313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it takes 2-3 days to receive your voucher)</a:t>
                      </a:r>
                    </a:p>
                    <a:p>
                      <a:pPr marL="365760" lvl="2" indent="-182880">
                        <a:spcBef>
                          <a:spcPts val="600"/>
                        </a:spcBef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elect “Other” and input “Deloitte Cloud Institute" for the “Training Platform Used” question</a:t>
                      </a:r>
                    </a:p>
                    <a:p>
                      <a:pPr marL="182880" indent="-182880">
                        <a:spcBef>
                          <a:spcPts val="600"/>
                        </a:spcBef>
                        <a:buSzPct val="100000"/>
                        <a:buFont typeface="+mj-lt"/>
                        <a:buAutoNum type="arabicPeriod"/>
                      </a:pPr>
                      <a:r>
                        <a:rPr lang="en-US" sz="1100" dirty="0">
                          <a:solidFill>
                            <a:srgbClr val="31313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Use the voucher you received and schedule your exam.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572883"/>
                  </a:ext>
                </a:extLst>
              </a:tr>
            </a:tbl>
          </a:graphicData>
        </a:graphic>
      </p:graphicFrame>
      <p:pic>
        <p:nvPicPr>
          <p:cNvPr id="16" name="Picture 15">
            <a:extLst>
              <a:ext uri="{FF2B5EF4-FFF2-40B4-BE49-F238E27FC236}">
                <a16:creationId xmlns:a16="http://schemas.microsoft.com/office/drawing/2014/main" id="{2B7D08E5-EC5B-4567-BED2-1C7FDE43A36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049"/>
          <a:stretch/>
        </p:blipFill>
        <p:spPr>
          <a:xfrm>
            <a:off x="513183" y="2473164"/>
            <a:ext cx="1994164" cy="2032000"/>
          </a:xfrm>
          <a:prstGeom prst="rect">
            <a:avLst/>
          </a:prstGeom>
        </p:spPr>
      </p:pic>
      <p:graphicFrame>
        <p:nvGraphicFramePr>
          <p:cNvPr id="45" name="Table 4">
            <a:extLst>
              <a:ext uri="{FF2B5EF4-FFF2-40B4-BE49-F238E27FC236}">
                <a16:creationId xmlns:a16="http://schemas.microsoft.com/office/drawing/2014/main" id="{58AF3206-064C-4182-B17E-1517574B1B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5886969"/>
              </p:ext>
            </p:extLst>
          </p:nvPr>
        </p:nvGraphicFramePr>
        <p:xfrm>
          <a:off x="501648" y="3566339"/>
          <a:ext cx="10779492" cy="18776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26948">
                  <a:extLst>
                    <a:ext uri="{9D8B030D-6E8A-4147-A177-3AD203B41FA5}">
                      <a16:colId xmlns:a16="http://schemas.microsoft.com/office/drawing/2014/main" val="3049599846"/>
                    </a:ext>
                  </a:extLst>
                </a:gridCol>
                <a:gridCol w="4376272">
                  <a:extLst>
                    <a:ext uri="{9D8B030D-6E8A-4147-A177-3AD203B41FA5}">
                      <a16:colId xmlns:a16="http://schemas.microsoft.com/office/drawing/2014/main" val="231869436"/>
                    </a:ext>
                  </a:extLst>
                </a:gridCol>
                <a:gridCol w="4376272">
                  <a:extLst>
                    <a:ext uri="{9D8B030D-6E8A-4147-A177-3AD203B41FA5}">
                      <a16:colId xmlns:a16="http://schemas.microsoft.com/office/drawing/2014/main" val="2863181381"/>
                    </a:ext>
                  </a:extLst>
                </a:gridCol>
              </a:tblGrid>
              <a:tr h="323171">
                <a:tc>
                  <a:txBody>
                    <a:bodyPr/>
                    <a:lstStyle/>
                    <a:p>
                      <a:pPr algn="ctr"/>
                      <a:endParaRPr lang="en-US" sz="1200" b="1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source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433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Font typeface="+mj-lt"/>
                        <a:buNone/>
                      </a:pPr>
                      <a:r>
                        <a:rPr lang="en-US" sz="1200" b="1" i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minders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3A8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8885600"/>
                  </a:ext>
                </a:extLst>
              </a:tr>
              <a:tr h="1554480">
                <a:tc>
                  <a:txBody>
                    <a:bodyPr/>
                    <a:lstStyle/>
                    <a:p>
                      <a:pPr algn="ctr">
                        <a:buSzPct val="100000"/>
                      </a:pPr>
                      <a:endParaRPr lang="en-US" sz="1100" b="1" dirty="0">
                        <a:solidFill>
                          <a:srgbClr val="31313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82880" indent="-182880">
                        <a:spcBef>
                          <a:spcPts val="600"/>
                        </a:spcBef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solidFill>
                            <a:srgbClr val="31313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hlinkClick r:id="rId5"/>
                        </a:rPr>
                        <a:t>GCP Training Guide</a:t>
                      </a:r>
                      <a:endParaRPr lang="en-US" sz="1100" dirty="0">
                        <a:solidFill>
                          <a:srgbClr val="31313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182880" indent="-182880">
                        <a:spcBef>
                          <a:spcPts val="600"/>
                        </a:spcBef>
                        <a:spcAft>
                          <a:spcPts val="0"/>
                        </a:spcAft>
                        <a:buSzPct val="100000"/>
                        <a:buFont typeface="Arial" panose="020B0604020202020204" pitchFamily="34" charset="0"/>
                        <a:buChar char="•"/>
                      </a:pPr>
                      <a:endParaRPr lang="en-US" sz="1100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82880" indent="-182880"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Exam vouchers will be provided; you do not need to purchase your own voucher.</a:t>
                      </a:r>
                    </a:p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dirty="0">
                          <a:solidFill>
                            <a:srgbClr val="31313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take Policy: </a:t>
                      </a:r>
                      <a:r>
                        <a:rPr lang="en-US" sz="1100" dirty="0">
                          <a:solidFill>
                            <a:srgbClr val="31313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hlinkClick r:id="rId6"/>
                        </a:rPr>
                        <a:t>Click Here</a:t>
                      </a:r>
                      <a:endParaRPr lang="en-US" sz="1100" dirty="0">
                        <a:solidFill>
                          <a:srgbClr val="31313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77239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7308423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042B7E-E9A7-4B2A-A2F4-83BDC7FDD0C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1650" y="651600"/>
            <a:ext cx="11188700" cy="54864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>
                <a:latin typeface="Open Sans" panose="020B0606030504020204" pitchFamily="34" charset="0"/>
              </a:rPr>
              <a:t>The Cloud Institute strongly encourages you to schedule and complete your certification exam as soon as possible after you complete the self-study, while information is fresh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75DAC58-D2E4-4FB5-A58D-1D6DE131B3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ertification Exam – </a:t>
            </a:r>
            <a:r>
              <a:rPr lang="en-US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Oracle</a:t>
            </a:r>
          </a:p>
        </p:txBody>
      </p:sp>
      <p:graphicFrame>
        <p:nvGraphicFramePr>
          <p:cNvPr id="2" name="Table 4">
            <a:extLst>
              <a:ext uri="{FF2B5EF4-FFF2-40B4-BE49-F238E27FC236}">
                <a16:creationId xmlns:a16="http://schemas.microsoft.com/office/drawing/2014/main" id="{BDBF5181-BB7B-4F00-A96C-EFA4508D81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4117055"/>
              </p:ext>
            </p:extLst>
          </p:nvPr>
        </p:nvGraphicFramePr>
        <p:xfrm>
          <a:off x="501650" y="1534339"/>
          <a:ext cx="10779493" cy="31231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04228">
                  <a:extLst>
                    <a:ext uri="{9D8B030D-6E8A-4147-A177-3AD203B41FA5}">
                      <a16:colId xmlns:a16="http://schemas.microsoft.com/office/drawing/2014/main" val="3049599846"/>
                    </a:ext>
                  </a:extLst>
                </a:gridCol>
                <a:gridCol w="8575265">
                  <a:extLst>
                    <a:ext uri="{9D8B030D-6E8A-4147-A177-3AD203B41FA5}">
                      <a16:colId xmlns:a16="http://schemas.microsoft.com/office/drawing/2014/main" val="231869436"/>
                    </a:ext>
                  </a:extLst>
                </a:gridCol>
              </a:tblGrid>
              <a:tr h="370840">
                <a:tc rowSpan="2"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cheduling and Exam Retake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291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9278976"/>
                  </a:ext>
                </a:extLst>
              </a:tr>
              <a:tr h="1188720">
                <a:tc vMerge="1">
                  <a:txBody>
                    <a:bodyPr/>
                    <a:lstStyle/>
                    <a:p>
                      <a:endParaRPr lang="en-US" sz="1200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600"/>
                        </a:spcBef>
                        <a:buSzPct val="100000"/>
                        <a:buFont typeface="+mj-lt"/>
                        <a:buNone/>
                      </a:pPr>
                      <a:r>
                        <a:rPr lang="en-US" sz="1100" b="1" dirty="0">
                          <a:solidFill>
                            <a:srgbClr val="31313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uchers are not required.</a:t>
                      </a:r>
                      <a:r>
                        <a:rPr lang="en-US" sz="1100" dirty="0">
                          <a:solidFill>
                            <a:srgbClr val="31313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Schedule a certification exam by following the instructions </a:t>
                      </a:r>
                      <a:r>
                        <a:rPr lang="en-US" sz="1100" dirty="0">
                          <a:solidFill>
                            <a:srgbClr val="31313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hlinkClick r:id="rId3"/>
                        </a:rPr>
                        <a:t>here</a:t>
                      </a:r>
                      <a:r>
                        <a:rPr lang="en-US" sz="1100" dirty="0">
                          <a:solidFill>
                            <a:srgbClr val="31313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.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572883"/>
                  </a:ext>
                </a:extLst>
              </a:tr>
              <a:tr h="374904"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SzPct val="100000"/>
                        <a:buFont typeface="+mj-lt"/>
                        <a:buNone/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minder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291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1893040"/>
                  </a:ext>
                </a:extLst>
              </a:tr>
              <a:tr h="1188720"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880" indent="-182880"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take Policy</a:t>
                      </a:r>
                      <a:r>
                        <a:rPr lang="en-US" sz="110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: You will have 4 times to attempt the exam. If you fail the 4</a:t>
                      </a:r>
                      <a:r>
                        <a:rPr lang="en-US" sz="1100" baseline="3000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th</a:t>
                      </a:r>
                      <a:r>
                        <a:rPr lang="en-US" sz="110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attempt, you will need to wait 1-year from the date failed to take the exam again.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3241917"/>
                  </a:ext>
                </a:extLst>
              </a:tr>
            </a:tbl>
          </a:graphicData>
        </a:graphic>
      </p:graphicFrame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3824A260-21DE-45F2-B361-9C37BCF8B8C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351" y="2551062"/>
            <a:ext cx="2075688" cy="1089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659990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042B7E-E9A7-4B2A-A2F4-83BDC7FDD0C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1650" y="651600"/>
            <a:ext cx="11188700" cy="54864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>
                <a:latin typeface="Open Sans" panose="020B0606030504020204" pitchFamily="34" charset="0"/>
              </a:rPr>
              <a:t>The Cloud Institute strongly encourages you to schedule and complete your certification exam as soon as possible after you complete the self-study, while information is fresh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75DAC58-D2E4-4FB5-A58D-1D6DE131B3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ertification Exam – </a:t>
            </a:r>
            <a:r>
              <a:rPr lang="en-US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uleSoft</a:t>
            </a:r>
          </a:p>
        </p:txBody>
      </p:sp>
      <p:graphicFrame>
        <p:nvGraphicFramePr>
          <p:cNvPr id="2" name="Table 4">
            <a:extLst>
              <a:ext uri="{FF2B5EF4-FFF2-40B4-BE49-F238E27FC236}">
                <a16:creationId xmlns:a16="http://schemas.microsoft.com/office/drawing/2014/main" id="{BDBF5181-BB7B-4F00-A96C-EFA4508D81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5747960"/>
              </p:ext>
            </p:extLst>
          </p:nvPr>
        </p:nvGraphicFramePr>
        <p:xfrm>
          <a:off x="501650" y="1534339"/>
          <a:ext cx="10779493" cy="31231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04228">
                  <a:extLst>
                    <a:ext uri="{9D8B030D-6E8A-4147-A177-3AD203B41FA5}">
                      <a16:colId xmlns:a16="http://schemas.microsoft.com/office/drawing/2014/main" val="3049599846"/>
                    </a:ext>
                  </a:extLst>
                </a:gridCol>
                <a:gridCol w="8575265">
                  <a:extLst>
                    <a:ext uri="{9D8B030D-6E8A-4147-A177-3AD203B41FA5}">
                      <a16:colId xmlns:a16="http://schemas.microsoft.com/office/drawing/2014/main" val="231869436"/>
                    </a:ext>
                  </a:extLst>
                </a:gridCol>
              </a:tblGrid>
              <a:tr h="370840">
                <a:tc rowSpan="2"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A1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A1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A1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cheduling and Exam Retakes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A1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A1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A1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A1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1D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9278976"/>
                  </a:ext>
                </a:extLst>
              </a:tr>
              <a:tr h="1188720">
                <a:tc vMerge="1">
                  <a:txBody>
                    <a:bodyPr/>
                    <a:lstStyle/>
                    <a:p>
                      <a:endParaRPr lang="en-US" sz="1200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600"/>
                        </a:spcBef>
                        <a:buSzPct val="100000"/>
                        <a:buFont typeface="+mj-lt"/>
                        <a:buNone/>
                      </a:pPr>
                      <a:r>
                        <a:rPr lang="en-US" sz="1100" b="1" dirty="0">
                          <a:solidFill>
                            <a:srgbClr val="31313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uchers are not required.</a:t>
                      </a:r>
                      <a:r>
                        <a:rPr lang="en-US" sz="1100" dirty="0">
                          <a:solidFill>
                            <a:srgbClr val="31313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Two exam attempts are unlocked automatically after successful completion of the self-paced course.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A1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A1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A1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A1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572883"/>
                  </a:ext>
                </a:extLst>
              </a:tr>
              <a:tr h="374904"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A1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A1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SzPct val="100000"/>
                        <a:buFont typeface="+mj-lt"/>
                        <a:buNone/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minders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A1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A1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A1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A1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1D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1893040"/>
                  </a:ext>
                </a:extLst>
              </a:tr>
              <a:tr h="1188720"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A1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A1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A1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880" indent="-182880"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take Policy</a:t>
                      </a:r>
                      <a:r>
                        <a:rPr lang="en-US" sz="110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: Completion of the self-paced course includes two certification exam attempts. If additional certification exam attempts are required, they can be purchased separately </a:t>
                      </a:r>
                      <a:r>
                        <a:rPr lang="en-US" sz="110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hlinkClick r:id="rId3"/>
                        </a:rPr>
                        <a:t>here</a:t>
                      </a:r>
                      <a:r>
                        <a:rPr lang="en-US" sz="110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.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A1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A1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A1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A1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3241917"/>
                  </a:ext>
                </a:extLst>
              </a:tr>
            </a:tbl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41EDE210-2B7D-41D1-A8C6-2ED19A6606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75" y="2784298"/>
            <a:ext cx="2103120" cy="623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8061388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042B7E-E9A7-4B2A-A2F4-83BDC7FDD0C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1650" y="651600"/>
            <a:ext cx="11188700" cy="54864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>
                <a:latin typeface="Open Sans" panose="020B0606030504020204" pitchFamily="34" charset="0"/>
              </a:rPr>
              <a:t>The Cloud Institute strongly encourages you to schedule and complete your certification exam as soon as possible after you complete the self-study, while information is fresh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75DAC58-D2E4-4FB5-A58D-1D6DE131B3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ertification Exam – </a:t>
            </a:r>
            <a:r>
              <a:rPr lang="en-US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Boomi</a:t>
            </a:r>
          </a:p>
        </p:txBody>
      </p:sp>
      <p:graphicFrame>
        <p:nvGraphicFramePr>
          <p:cNvPr id="2" name="Table 4">
            <a:extLst>
              <a:ext uri="{FF2B5EF4-FFF2-40B4-BE49-F238E27FC236}">
                <a16:creationId xmlns:a16="http://schemas.microsoft.com/office/drawing/2014/main" id="{BDBF5181-BB7B-4F00-A96C-EFA4508D81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30445"/>
              </p:ext>
            </p:extLst>
          </p:nvPr>
        </p:nvGraphicFramePr>
        <p:xfrm>
          <a:off x="501650" y="1534339"/>
          <a:ext cx="10779493" cy="31231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04228">
                  <a:extLst>
                    <a:ext uri="{9D8B030D-6E8A-4147-A177-3AD203B41FA5}">
                      <a16:colId xmlns:a16="http://schemas.microsoft.com/office/drawing/2014/main" val="3049599846"/>
                    </a:ext>
                  </a:extLst>
                </a:gridCol>
                <a:gridCol w="8575265">
                  <a:extLst>
                    <a:ext uri="{9D8B030D-6E8A-4147-A177-3AD203B41FA5}">
                      <a16:colId xmlns:a16="http://schemas.microsoft.com/office/drawing/2014/main" val="231869436"/>
                    </a:ext>
                  </a:extLst>
                </a:gridCol>
              </a:tblGrid>
              <a:tr h="370840">
                <a:tc rowSpan="2"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cheduling and Exam Retake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3D5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9278976"/>
                  </a:ext>
                </a:extLst>
              </a:tr>
              <a:tr h="1188720">
                <a:tc vMerge="1">
                  <a:txBody>
                    <a:bodyPr/>
                    <a:lstStyle/>
                    <a:p>
                      <a:endParaRPr lang="en-US" sz="1200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600"/>
                        </a:spcBef>
                        <a:buSzPct val="100000"/>
                        <a:buFont typeface="+mj-lt"/>
                        <a:buNone/>
                      </a:pPr>
                      <a:r>
                        <a:rPr lang="en-US" sz="1100" b="1" dirty="0">
                          <a:solidFill>
                            <a:srgbClr val="31313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uchers are not required.</a:t>
                      </a:r>
                      <a:r>
                        <a:rPr lang="en-US" sz="1100" dirty="0">
                          <a:solidFill>
                            <a:srgbClr val="31313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Certification exams are enabled automatically after completing all the videos and practice exercises in </a:t>
                      </a:r>
                      <a:r>
                        <a:rPr lang="en-US" sz="1100" dirty="0">
                          <a:solidFill>
                            <a:srgbClr val="31313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hlinkClick r:id="rId3"/>
                        </a:rPr>
                        <a:t>Boomiverse Training and Certification</a:t>
                      </a:r>
                      <a:r>
                        <a:rPr lang="en-US" sz="1100" dirty="0">
                          <a:solidFill>
                            <a:srgbClr val="31313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.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572883"/>
                  </a:ext>
                </a:extLst>
              </a:tr>
              <a:tr h="374904"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SzPct val="100000"/>
                        <a:buFont typeface="+mj-lt"/>
                        <a:buNone/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minder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3D5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1893040"/>
                  </a:ext>
                </a:extLst>
              </a:tr>
              <a:tr h="1188720"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880" indent="-182880"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take Policy</a:t>
                      </a:r>
                      <a:r>
                        <a:rPr lang="en-US" sz="110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: </a:t>
                      </a:r>
                      <a:r>
                        <a:rPr lang="en-US" sz="110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hlinkClick r:id="rId4"/>
                        </a:rPr>
                        <a:t>Boomi Training Help &amp; FAQ</a:t>
                      </a:r>
                      <a:endParaRPr lang="en-US" sz="1100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3241917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2BA26C11-14BD-435A-B410-E24C5B73D6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775" y="2716931"/>
            <a:ext cx="2103120" cy="7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45415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Brand Theme" id="{7F8E7B9C-D1E6-4EAB-A888-5889AFAC97F5}" vid="{EE3CB14B-24FA-49D6-9FDE-EB9FB3296A6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05afce5-37c3-4abc-bc01-188d39936319" xsi:nil="true"/>
    <lcf76f155ced4ddcb4097134ff3c332f xmlns="af335053-5c13-4208-99bf-938eb2315e22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EC0AAA1F7DA114DA868E1ACE6E5C35D" ma:contentTypeVersion="13" ma:contentTypeDescription="Create a new document." ma:contentTypeScope="" ma:versionID="1fa18c2db655ac7a5de5a3214f9c5730">
  <xsd:schema xmlns:xsd="http://www.w3.org/2001/XMLSchema" xmlns:xs="http://www.w3.org/2001/XMLSchema" xmlns:p="http://schemas.microsoft.com/office/2006/metadata/properties" xmlns:ns2="af335053-5c13-4208-99bf-938eb2315e22" xmlns:ns3="e05afce5-37c3-4abc-bc01-188d39936319" targetNamespace="http://schemas.microsoft.com/office/2006/metadata/properties" ma:root="true" ma:fieldsID="fa0c024b7eaed3f8094ffbf1ca85f2ba" ns2:_="" ns3:_="">
    <xsd:import namespace="af335053-5c13-4208-99bf-938eb2315e22"/>
    <xsd:import namespace="e05afce5-37c3-4abc-bc01-188d3993631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f335053-5c13-4208-99bf-938eb2315e2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798d900d-0589-4081-96eb-513de833a50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5afce5-37c3-4abc-bc01-188d39936319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be16f0e0-73c8-4d25-a61b-195444a58d30}" ma:internalName="TaxCatchAll" ma:showField="CatchAllData" ma:web="e05afce5-37c3-4abc-bc01-188d3993631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DB6A345-73B2-48A9-BF07-3DCEF6FE7730}">
  <ds:schemaRefs>
    <ds:schemaRef ds:uri="http://schemas.microsoft.com/office/2006/metadata/properties"/>
    <ds:schemaRef ds:uri="http://schemas.microsoft.com/office/infopath/2007/PartnerControls"/>
    <ds:schemaRef ds:uri="e05afce5-37c3-4abc-bc01-188d39936319"/>
    <ds:schemaRef ds:uri="af335053-5c13-4208-99bf-938eb2315e22"/>
  </ds:schemaRefs>
</ds:datastoreItem>
</file>

<file path=customXml/itemProps2.xml><?xml version="1.0" encoding="utf-8"?>
<ds:datastoreItem xmlns:ds="http://schemas.openxmlformats.org/officeDocument/2006/customXml" ds:itemID="{0E3FF4B1-874B-4FD5-B9B8-D7E328A33C5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f335053-5c13-4208-99bf-938eb2315e22"/>
    <ds:schemaRef ds:uri="e05afce5-37c3-4abc-bc01-188d3993631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9A936A8-746B-4D6F-B8E3-D65D7F4C1FC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ertification Exam – AWS</Template>
  <TotalTime>0</TotalTime>
  <Words>675</Words>
  <Application>Microsoft Office PowerPoint</Application>
  <PresentationFormat>Widescreen</PresentationFormat>
  <Paragraphs>62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5" baseType="lpstr">
      <vt:lpstr>Arial</vt:lpstr>
      <vt:lpstr>Calibri</vt:lpstr>
      <vt:lpstr>Calibri Light</vt:lpstr>
      <vt:lpstr>Open Sans</vt:lpstr>
      <vt:lpstr>Open Sans Light</vt:lpstr>
      <vt:lpstr>Verdana</vt:lpstr>
      <vt:lpstr>Wingdings 2</vt:lpstr>
      <vt:lpstr>Deloitte Brand Theme</vt:lpstr>
      <vt:lpstr>think-cell Slide</vt:lpstr>
      <vt:lpstr>Certification Exam – AWS</vt:lpstr>
      <vt:lpstr>Certification Exam – Azure</vt:lpstr>
      <vt:lpstr>Certification Exam – GCP</vt:lpstr>
      <vt:lpstr>Certification Exam – Oracle</vt:lpstr>
      <vt:lpstr>Certification Exam – MuleSoft</vt:lpstr>
      <vt:lpstr>Certification Exam – Boomi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3-03-28T14:07:31Z</dcterms:created>
  <dcterms:modified xsi:type="dcterms:W3CDTF">2023-03-28T16:01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1-02-15T18:32:11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0cd076e2-ba1e-4444-8923-d23acd129111</vt:lpwstr>
  </property>
  <property fmtid="{D5CDD505-2E9C-101B-9397-08002B2CF9AE}" pid="8" name="MSIP_Label_ea60d57e-af5b-4752-ac57-3e4f28ca11dc_ContentBits">
    <vt:lpwstr>0</vt:lpwstr>
  </property>
  <property fmtid="{D5CDD505-2E9C-101B-9397-08002B2CF9AE}" pid="9" name="MediaServiceImageTags">
    <vt:lpwstr/>
  </property>
  <property fmtid="{D5CDD505-2E9C-101B-9397-08002B2CF9AE}" pid="10" name="ContentTypeId">
    <vt:lpwstr>0x010100FEC0AAA1F7DA114DA868E1ACE6E5C35D</vt:lpwstr>
  </property>
</Properties>
</file>